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Lst>
  <p:notesMasterIdLst>
    <p:notesMasterId r:id="rId6"/>
  </p:notesMasterIdLst>
  <p:sldIdLst>
    <p:sldId id="2134096978"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460EDB-5614-4167-B7D0-CA25E16CCCCC}" v="1" dt="2024-04-01T19:37:20.2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99" autoAdjust="0"/>
    <p:restoredTop sz="94606" autoAdjust="0"/>
  </p:normalViewPr>
  <p:slideViewPr>
    <p:cSldViewPr snapToGrid="0">
      <p:cViewPr varScale="1">
        <p:scale>
          <a:sx n="78" d="100"/>
          <a:sy n="78" d="100"/>
        </p:scale>
        <p:origin x="874"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FC319F-EAAE-4CA5-8521-17F9CB4740F4}" type="datetimeFigureOut">
              <a:rPr lang="en-US" smtClean="0"/>
              <a:t>8/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A66938-5742-42E3-96D5-F6BCD01EDDAB}" type="slidenum">
              <a:rPr lang="en-US" smtClean="0"/>
              <a:t>‹#›</a:t>
            </a:fld>
            <a:endParaRPr lang="en-US"/>
          </a:p>
        </p:txBody>
      </p:sp>
    </p:spTree>
    <p:extLst>
      <p:ext uri="{BB962C8B-B14F-4D97-AF65-F5344CB8AC3E}">
        <p14:creationId xmlns:p14="http://schemas.microsoft.com/office/powerpoint/2010/main" val="3293690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04037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a:defRPr sz="7500">
                <a:solidFill>
                  <a:schemeClr val="bg1"/>
                </a:solidFill>
                <a:latin typeface="IntelOne Display Regular" panose="020B0503020203020204" pitchFamily="34" charset="0"/>
              </a:defRPr>
            </a:lvl1pPr>
          </a:lstStyle>
          <a:p>
            <a:r>
              <a:rPr lang="en-US"/>
              <a:t>75 </a:t>
            </a:r>
            <a:r>
              <a:rPr lang="en-US" err="1"/>
              <a:t>pt</a:t>
            </a:r>
            <a:r>
              <a:rPr lang="en-US"/>
              <a:t> Intel One Display</a:t>
            </a:r>
            <a:endParaRPr/>
          </a:p>
        </p:txBody>
      </p:sp>
      <p:sp>
        <p:nvSpPr>
          <p:cNvPr id="17" name="Text Placeholder 2">
            <a:extLst>
              <a:ext uri="{FF2B5EF4-FFF2-40B4-BE49-F238E27FC236}">
                <a16:creationId xmlns:a16="http://schemas.microsoft.com/office/drawing/2014/main" id="{75379059-B28C-483A-9CD1-B3EB81874AEC}"/>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a:extLst>
              <a:ext uri="{FF2B5EF4-FFF2-40B4-BE49-F238E27FC236}">
                <a16:creationId xmlns:a16="http://schemas.microsoft.com/office/drawing/2014/main" id="{BEFC1083-9176-4B55-B8AB-9F31A213ED26}"/>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a:extLst>
              <a:ext uri="{FF2B5EF4-FFF2-40B4-BE49-F238E27FC236}">
                <a16:creationId xmlns:a16="http://schemas.microsoft.com/office/drawing/2014/main" id="{698DF977-78B3-4C00-9E43-1223CD667932}"/>
              </a:ext>
            </a:extLst>
          </p:cNvPr>
          <p:cNvGrpSpPr/>
          <p:nvPr userDrawn="1"/>
        </p:nvGrpSpPr>
        <p:grpSpPr>
          <a:xfrm>
            <a:off x="1468406" y="5995719"/>
            <a:ext cx="1059754" cy="396801"/>
            <a:chOff x="1314450" y="6391094"/>
            <a:chExt cx="1123377" cy="420623"/>
          </a:xfrm>
        </p:grpSpPr>
        <p:sp>
          <p:nvSpPr>
            <p:cNvPr id="5" name="Freeform: Shape 4">
              <a:extLst>
                <a:ext uri="{FF2B5EF4-FFF2-40B4-BE49-F238E27FC236}">
                  <a16:creationId xmlns:a16="http://schemas.microsoft.com/office/drawing/2014/main" id="{78F73C8D-05B1-4270-85FA-B1FD37A25A06}"/>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FC6580CA-6E37-4F04-8FAD-D6491FEE8CE6}"/>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1C614C49-972F-498A-9654-844CECF9AF64}"/>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922EBBE0-933B-4A65-BAAC-DC5972E3F9A4}"/>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17767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E8FAEE2-3BFE-42F0-A83C-18AD4A768FF0}"/>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17198EC9-2853-44FC-9A3B-9B2B2A98D72D}"/>
              </a:ext>
            </a:extLst>
          </p:cNvPr>
          <p:cNvSpPr txBox="1"/>
          <p:nvPr userDrawn="1"/>
        </p:nvSpPr>
        <p:spPr>
          <a:xfrm>
            <a:off x="0" y="6395103"/>
            <a:ext cx="11100816"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a:extLst>
              <a:ext uri="{FF2B5EF4-FFF2-40B4-BE49-F238E27FC236}">
                <a16:creationId xmlns:a16="http://schemas.microsoft.com/office/drawing/2014/main" id="{EBB4AA44-07BC-40CA-B87C-EDC803B55E5C}"/>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extLst>
      <p:ext uri="{BB962C8B-B14F-4D97-AF65-F5344CB8AC3E}">
        <p14:creationId xmlns:p14="http://schemas.microsoft.com/office/powerpoint/2010/main" val="48918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 Content &amp;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15046" y="0"/>
            <a:ext cx="5129422" cy="6416167"/>
          </a:xfrm>
        </p:spPr>
        <p:txBody>
          <a:bodyPr/>
          <a:lstStyle/>
          <a:p>
            <a:endParaRPr lang="en-US"/>
          </a:p>
        </p:txBody>
      </p:sp>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47107" cy="9458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a:defRPr sz="4000">
                <a:solidFill>
                  <a:srgbClr val="525252"/>
                </a:solidFill>
              </a:defRPr>
            </a:lvl1pPr>
          </a:lstStyle>
          <a:p>
            <a:r>
              <a:rPr lang="en-US"/>
              <a:t>40pt Intel One Text Goes Here</a:t>
            </a:r>
          </a:p>
        </p:txBody>
      </p:sp>
      <p:sp>
        <p:nvSpPr>
          <p:cNvPr id="11" name="Content Placeholder 2">
            <a:extLst>
              <a:ext uri="{FF2B5EF4-FFF2-40B4-BE49-F238E27FC236}">
                <a16:creationId xmlns:a16="http://schemas.microsoft.com/office/drawing/2014/main" id="{7B7FB3F6-9C71-45A0-8236-12671533CA22}"/>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B1C73349-1E00-4922-970C-187F97CE06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16930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Agenda blu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B5B8CD-DD94-44E8-9F69-C9075C2E0A93}"/>
              </a:ext>
            </a:extLst>
          </p:cNvPr>
          <p:cNvSpPr/>
          <p:nvPr userDrawn="1"/>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1433" y="6543018"/>
            <a:ext cx="491250" cy="190501"/>
          </a:xfrm>
          <a:prstGeom prst="rect">
            <a:avLst/>
          </a:prstGeom>
          <a:ln w="12700">
            <a:miter lim="400000"/>
          </a:ln>
        </p:spPr>
      </p:pic>
      <p:sp>
        <p:nvSpPr>
          <p:cNvPr id="15" name="TextBox 14">
            <a:extLst>
              <a:ext uri="{FF2B5EF4-FFF2-40B4-BE49-F238E27FC236}">
                <a16:creationId xmlns:a16="http://schemas.microsoft.com/office/drawing/2014/main" id="{3F655609-5439-9C4A-8F0D-9AB5A1AAC9A3}"/>
              </a:ext>
            </a:extLst>
          </p:cNvPr>
          <p:cNvSpPr txBox="1"/>
          <p:nvPr userDrawn="1"/>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a:extLst>
              <a:ext uri="{FF2B5EF4-FFF2-40B4-BE49-F238E27FC236}">
                <a16:creationId xmlns:a16="http://schemas.microsoft.com/office/drawing/2014/main" id="{ED4D76E8-466A-4C06-9261-BDE1AA914749}"/>
              </a:ext>
            </a:extLst>
          </p:cNvPr>
          <p:cNvSpPr/>
          <p:nvPr userDrawn="1"/>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2" name="Rectangle 11">
            <a:extLst>
              <a:ext uri="{FF2B5EF4-FFF2-40B4-BE49-F238E27FC236}">
                <a16:creationId xmlns:a16="http://schemas.microsoft.com/office/drawing/2014/main" id="{F82519BB-51CE-4A9C-AFEF-514971F5D779}"/>
              </a:ext>
            </a:extLst>
          </p:cNvPr>
          <p:cNvSpPr/>
          <p:nvPr userDrawn="1"/>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8" name="Text Placeholder 32">
            <a:extLst>
              <a:ext uri="{FF2B5EF4-FFF2-40B4-BE49-F238E27FC236}">
                <a16:creationId xmlns:a16="http://schemas.microsoft.com/office/drawing/2014/main" id="{5928E62A-4719-0948-BC0B-D20B1003C685}"/>
              </a:ext>
            </a:extLst>
          </p:cNvPr>
          <p:cNvSpPr>
            <a:spLocks noGrp="1"/>
          </p:cNvSpPr>
          <p:nvPr>
            <p:ph type="body" sz="quarter" idx="14" hasCustomPrompt="1"/>
          </p:nvPr>
        </p:nvSpPr>
        <p:spPr>
          <a:xfrm>
            <a:off x="42657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19" name="Text Placeholder 3">
            <a:extLst>
              <a:ext uri="{FF2B5EF4-FFF2-40B4-BE49-F238E27FC236}">
                <a16:creationId xmlns:a16="http://schemas.microsoft.com/office/drawing/2014/main" id="{7611E9B1-0990-2941-ADD8-8EC964BBF970}"/>
              </a:ext>
            </a:extLst>
          </p:cNvPr>
          <p:cNvSpPr>
            <a:spLocks noGrp="1"/>
          </p:cNvSpPr>
          <p:nvPr>
            <p:ph type="body" sz="quarter" idx="10" hasCustomPrompt="1"/>
          </p:nvPr>
        </p:nvSpPr>
        <p:spPr>
          <a:xfrm>
            <a:off x="427037" y="277148"/>
            <a:ext cx="10942370" cy="450548"/>
          </a:xfrm>
          <a:prstGeom prst="rect">
            <a:avLst/>
          </a:prstGeom>
        </p:spPr>
        <p:txBody>
          <a:bodyPr/>
          <a:lstStyle>
            <a:lvl1pPr marL="0">
              <a:buNone/>
              <a:defRPr b="0" i="0">
                <a:solidFill>
                  <a:schemeClr val="bg1"/>
                </a:solidFill>
                <a:latin typeface="IntelOne Display Light" panose="020B0403020203020204" pitchFamily="34" charset="77"/>
              </a:defRPr>
            </a:lvl1pPr>
          </a:lstStyle>
          <a:p>
            <a:pPr lvl="0"/>
            <a:r>
              <a:rPr lang="en-US"/>
              <a:t>Agenda </a:t>
            </a:r>
          </a:p>
        </p:txBody>
      </p:sp>
      <p:sp>
        <p:nvSpPr>
          <p:cNvPr id="20" name="Text Placeholder 3">
            <a:extLst>
              <a:ext uri="{FF2B5EF4-FFF2-40B4-BE49-F238E27FC236}">
                <a16:creationId xmlns:a16="http://schemas.microsoft.com/office/drawing/2014/main" id="{B5580C96-D517-9144-B524-D959981C1DC6}"/>
              </a:ext>
            </a:extLst>
          </p:cNvPr>
          <p:cNvSpPr>
            <a:spLocks noGrp="1"/>
          </p:cNvSpPr>
          <p:nvPr>
            <p:ph type="body" sz="quarter" idx="15" hasCustomPrompt="1"/>
          </p:nvPr>
        </p:nvSpPr>
        <p:spPr>
          <a:xfrm>
            <a:off x="42657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1  Title</a:t>
            </a:r>
          </a:p>
        </p:txBody>
      </p:sp>
      <p:sp>
        <p:nvSpPr>
          <p:cNvPr id="43" name="Text Placeholder 32">
            <a:extLst>
              <a:ext uri="{FF2B5EF4-FFF2-40B4-BE49-F238E27FC236}">
                <a16:creationId xmlns:a16="http://schemas.microsoft.com/office/drawing/2014/main" id="{B8BAB1F8-102B-1F4F-A311-F9D85F1C47D1}"/>
              </a:ext>
            </a:extLst>
          </p:cNvPr>
          <p:cNvSpPr>
            <a:spLocks noGrp="1"/>
          </p:cNvSpPr>
          <p:nvPr>
            <p:ph type="body" sz="quarter" idx="16" hasCustomPrompt="1"/>
          </p:nvPr>
        </p:nvSpPr>
        <p:spPr>
          <a:xfrm>
            <a:off x="42657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4" name="Text Placeholder 3">
            <a:extLst>
              <a:ext uri="{FF2B5EF4-FFF2-40B4-BE49-F238E27FC236}">
                <a16:creationId xmlns:a16="http://schemas.microsoft.com/office/drawing/2014/main" id="{A1967C27-085C-D948-8D45-A04A2809760B}"/>
              </a:ext>
            </a:extLst>
          </p:cNvPr>
          <p:cNvSpPr>
            <a:spLocks noGrp="1"/>
          </p:cNvSpPr>
          <p:nvPr>
            <p:ph type="body" sz="quarter" idx="17" hasCustomPrompt="1"/>
          </p:nvPr>
        </p:nvSpPr>
        <p:spPr>
          <a:xfrm>
            <a:off x="42657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2  Title</a:t>
            </a:r>
          </a:p>
        </p:txBody>
      </p:sp>
      <p:sp>
        <p:nvSpPr>
          <p:cNvPr id="45" name="Text Placeholder 32">
            <a:extLst>
              <a:ext uri="{FF2B5EF4-FFF2-40B4-BE49-F238E27FC236}">
                <a16:creationId xmlns:a16="http://schemas.microsoft.com/office/drawing/2014/main" id="{71962F6B-715B-7849-B5C1-0A39C21A7159}"/>
              </a:ext>
            </a:extLst>
          </p:cNvPr>
          <p:cNvSpPr>
            <a:spLocks noGrp="1"/>
          </p:cNvSpPr>
          <p:nvPr>
            <p:ph type="body" sz="quarter" idx="18" hasCustomPrompt="1"/>
          </p:nvPr>
        </p:nvSpPr>
        <p:spPr>
          <a:xfrm>
            <a:off x="42657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6" name="Text Placeholder 3">
            <a:extLst>
              <a:ext uri="{FF2B5EF4-FFF2-40B4-BE49-F238E27FC236}">
                <a16:creationId xmlns:a16="http://schemas.microsoft.com/office/drawing/2014/main" id="{F3FEB41B-BD3B-7844-B4B6-A48EB4982273}"/>
              </a:ext>
            </a:extLst>
          </p:cNvPr>
          <p:cNvSpPr>
            <a:spLocks noGrp="1"/>
          </p:cNvSpPr>
          <p:nvPr>
            <p:ph type="body" sz="quarter" idx="19" hasCustomPrompt="1"/>
          </p:nvPr>
        </p:nvSpPr>
        <p:spPr>
          <a:xfrm>
            <a:off x="42657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3  Title</a:t>
            </a:r>
          </a:p>
        </p:txBody>
      </p:sp>
      <p:sp>
        <p:nvSpPr>
          <p:cNvPr id="47" name="Text Placeholder 32">
            <a:extLst>
              <a:ext uri="{FF2B5EF4-FFF2-40B4-BE49-F238E27FC236}">
                <a16:creationId xmlns:a16="http://schemas.microsoft.com/office/drawing/2014/main" id="{A79F0E52-E9B3-5E4F-AB0D-69E57A95F7C0}"/>
              </a:ext>
            </a:extLst>
          </p:cNvPr>
          <p:cNvSpPr>
            <a:spLocks noGrp="1"/>
          </p:cNvSpPr>
          <p:nvPr>
            <p:ph type="body" sz="quarter" idx="20" hasCustomPrompt="1"/>
          </p:nvPr>
        </p:nvSpPr>
        <p:spPr>
          <a:xfrm>
            <a:off x="42656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8" name="Text Placeholder 3">
            <a:extLst>
              <a:ext uri="{FF2B5EF4-FFF2-40B4-BE49-F238E27FC236}">
                <a16:creationId xmlns:a16="http://schemas.microsoft.com/office/drawing/2014/main" id="{F5AC53E6-97FC-C945-8226-2A49D5575570}"/>
              </a:ext>
            </a:extLst>
          </p:cNvPr>
          <p:cNvSpPr>
            <a:spLocks noGrp="1"/>
          </p:cNvSpPr>
          <p:nvPr>
            <p:ph type="body" sz="quarter" idx="21" hasCustomPrompt="1"/>
          </p:nvPr>
        </p:nvSpPr>
        <p:spPr>
          <a:xfrm>
            <a:off x="42657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4  Title</a:t>
            </a:r>
          </a:p>
        </p:txBody>
      </p:sp>
      <p:sp>
        <p:nvSpPr>
          <p:cNvPr id="49" name="Text Placeholder 32">
            <a:extLst>
              <a:ext uri="{FF2B5EF4-FFF2-40B4-BE49-F238E27FC236}">
                <a16:creationId xmlns:a16="http://schemas.microsoft.com/office/drawing/2014/main" id="{D4B4D575-2C92-2E46-A0B6-1037DCD439E2}"/>
              </a:ext>
            </a:extLst>
          </p:cNvPr>
          <p:cNvSpPr>
            <a:spLocks noGrp="1"/>
          </p:cNvSpPr>
          <p:nvPr>
            <p:ph type="body" sz="quarter" idx="22" hasCustomPrompt="1"/>
          </p:nvPr>
        </p:nvSpPr>
        <p:spPr>
          <a:xfrm>
            <a:off x="595004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0" name="Text Placeholder 3">
            <a:extLst>
              <a:ext uri="{FF2B5EF4-FFF2-40B4-BE49-F238E27FC236}">
                <a16:creationId xmlns:a16="http://schemas.microsoft.com/office/drawing/2014/main" id="{C4B190A6-91E2-AC4B-B237-50890AF1C111}"/>
              </a:ext>
            </a:extLst>
          </p:cNvPr>
          <p:cNvSpPr>
            <a:spLocks noGrp="1"/>
          </p:cNvSpPr>
          <p:nvPr>
            <p:ph type="body" sz="quarter" idx="23" hasCustomPrompt="1"/>
          </p:nvPr>
        </p:nvSpPr>
        <p:spPr>
          <a:xfrm>
            <a:off x="595004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5  Title</a:t>
            </a:r>
          </a:p>
        </p:txBody>
      </p:sp>
      <p:sp>
        <p:nvSpPr>
          <p:cNvPr id="51" name="Text Placeholder 32">
            <a:extLst>
              <a:ext uri="{FF2B5EF4-FFF2-40B4-BE49-F238E27FC236}">
                <a16:creationId xmlns:a16="http://schemas.microsoft.com/office/drawing/2014/main" id="{D4D8551F-6FC6-7640-9A48-672E2E832CD5}"/>
              </a:ext>
            </a:extLst>
          </p:cNvPr>
          <p:cNvSpPr>
            <a:spLocks noGrp="1"/>
          </p:cNvSpPr>
          <p:nvPr>
            <p:ph type="body" sz="quarter" idx="24" hasCustomPrompt="1"/>
          </p:nvPr>
        </p:nvSpPr>
        <p:spPr>
          <a:xfrm>
            <a:off x="595004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2" name="Text Placeholder 3">
            <a:extLst>
              <a:ext uri="{FF2B5EF4-FFF2-40B4-BE49-F238E27FC236}">
                <a16:creationId xmlns:a16="http://schemas.microsoft.com/office/drawing/2014/main" id="{85E92CAF-345F-BC4E-BD86-AB71A29C9903}"/>
              </a:ext>
            </a:extLst>
          </p:cNvPr>
          <p:cNvSpPr>
            <a:spLocks noGrp="1"/>
          </p:cNvSpPr>
          <p:nvPr>
            <p:ph type="body" sz="quarter" idx="25" hasCustomPrompt="1"/>
          </p:nvPr>
        </p:nvSpPr>
        <p:spPr>
          <a:xfrm>
            <a:off x="595004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6  Title</a:t>
            </a:r>
          </a:p>
        </p:txBody>
      </p:sp>
      <p:sp>
        <p:nvSpPr>
          <p:cNvPr id="53" name="Text Placeholder 32">
            <a:extLst>
              <a:ext uri="{FF2B5EF4-FFF2-40B4-BE49-F238E27FC236}">
                <a16:creationId xmlns:a16="http://schemas.microsoft.com/office/drawing/2014/main" id="{178FCB4A-A3E5-EB46-AD96-E6073B61A4A6}"/>
              </a:ext>
            </a:extLst>
          </p:cNvPr>
          <p:cNvSpPr>
            <a:spLocks noGrp="1"/>
          </p:cNvSpPr>
          <p:nvPr>
            <p:ph type="body" sz="quarter" idx="26" hasCustomPrompt="1"/>
          </p:nvPr>
        </p:nvSpPr>
        <p:spPr>
          <a:xfrm>
            <a:off x="595004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4" name="Text Placeholder 3">
            <a:extLst>
              <a:ext uri="{FF2B5EF4-FFF2-40B4-BE49-F238E27FC236}">
                <a16:creationId xmlns:a16="http://schemas.microsoft.com/office/drawing/2014/main" id="{56B74B1D-62B3-5745-9717-EF4BF3A6F391}"/>
              </a:ext>
            </a:extLst>
          </p:cNvPr>
          <p:cNvSpPr>
            <a:spLocks noGrp="1"/>
          </p:cNvSpPr>
          <p:nvPr>
            <p:ph type="body" sz="quarter" idx="27" hasCustomPrompt="1"/>
          </p:nvPr>
        </p:nvSpPr>
        <p:spPr>
          <a:xfrm>
            <a:off x="595004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7  Title</a:t>
            </a:r>
          </a:p>
        </p:txBody>
      </p:sp>
      <p:sp>
        <p:nvSpPr>
          <p:cNvPr id="55" name="Text Placeholder 32">
            <a:extLst>
              <a:ext uri="{FF2B5EF4-FFF2-40B4-BE49-F238E27FC236}">
                <a16:creationId xmlns:a16="http://schemas.microsoft.com/office/drawing/2014/main" id="{8D04DA01-7039-3948-82F3-8660D7E18829}"/>
              </a:ext>
            </a:extLst>
          </p:cNvPr>
          <p:cNvSpPr>
            <a:spLocks noGrp="1"/>
          </p:cNvSpPr>
          <p:nvPr>
            <p:ph type="body" sz="quarter" idx="28" hasCustomPrompt="1"/>
          </p:nvPr>
        </p:nvSpPr>
        <p:spPr>
          <a:xfrm>
            <a:off x="595003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6" name="Text Placeholder 3">
            <a:extLst>
              <a:ext uri="{FF2B5EF4-FFF2-40B4-BE49-F238E27FC236}">
                <a16:creationId xmlns:a16="http://schemas.microsoft.com/office/drawing/2014/main" id="{C7E15128-1183-5C49-99CE-DF3860457913}"/>
              </a:ext>
            </a:extLst>
          </p:cNvPr>
          <p:cNvSpPr>
            <a:spLocks noGrp="1"/>
          </p:cNvSpPr>
          <p:nvPr>
            <p:ph type="body" sz="quarter" idx="29" hasCustomPrompt="1"/>
          </p:nvPr>
        </p:nvSpPr>
        <p:spPr>
          <a:xfrm>
            <a:off x="595004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8  Title</a:t>
            </a:r>
          </a:p>
        </p:txBody>
      </p:sp>
      <p:sp>
        <p:nvSpPr>
          <p:cNvPr id="57" name="Rectangle 56">
            <a:extLst>
              <a:ext uri="{FF2B5EF4-FFF2-40B4-BE49-F238E27FC236}">
                <a16:creationId xmlns:a16="http://schemas.microsoft.com/office/drawing/2014/main" id="{E1A32C67-F7D6-E04F-9E04-B0BD761C8FD2}"/>
              </a:ext>
            </a:extLst>
          </p:cNvPr>
          <p:cNvSpPr/>
          <p:nvPr userDrawn="1"/>
        </p:nvSpPr>
        <p:spPr>
          <a:xfrm>
            <a:off x="371797" y="6562504"/>
            <a:ext cx="1284326" cy="230832"/>
          </a:xfrm>
          <a:prstGeom prst="rect">
            <a:avLst/>
          </a:prstGeom>
        </p:spPr>
        <p:txBody>
          <a:bodyPr wrap="none">
            <a:spAutoFit/>
          </a:bodyPr>
          <a:lstStyle/>
          <a:p>
            <a:pPr algn="l"/>
            <a:r>
              <a:rPr lang="en-US" sz="1000">
                <a:solidFill>
                  <a:schemeClr val="bg1"/>
                </a:solidFill>
              </a:rPr>
              <a:t>Intel® Corporation</a:t>
            </a:r>
          </a:p>
        </p:txBody>
      </p:sp>
    </p:spTree>
    <p:extLst>
      <p:ext uri="{BB962C8B-B14F-4D97-AF65-F5344CB8AC3E}">
        <p14:creationId xmlns:p14="http://schemas.microsoft.com/office/powerpoint/2010/main" val="375659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27ABEE-91E1-420E-AD52-066ECB7CBDFC}"/>
              </a:ext>
            </a:extLst>
          </p:cNvPr>
          <p:cNvSpPr/>
          <p:nvPr userDrawn="1"/>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rPr lang="en-US"/>
              <a:t>Body copy Intel One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a:p>
        </p:txBody>
      </p:sp>
      <p:sp>
        <p:nvSpPr>
          <p:cNvPr id="4" name="Title Text"/>
          <p:cNvSpPr txBox="1">
            <a:spLocks noGrp="1"/>
          </p:cNvSpPr>
          <p:nvPr>
            <p:ph type="title"/>
          </p:nvPr>
        </p:nvSpPr>
        <p:spPr>
          <a:xfrm>
            <a:off x="592916" y="571500"/>
            <a:ext cx="10972801" cy="8836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p>
            <a:r>
              <a:rPr lang="en-US"/>
              <a:t>40pt Intel One Display Text Goes Here</a:t>
            </a:r>
            <a:endParaRPr/>
          </a:p>
        </p:txBody>
      </p:sp>
      <p:pic>
        <p:nvPicPr>
          <p:cNvPr id="6" name="Graphic 5">
            <a:extLst>
              <a:ext uri="{FF2B5EF4-FFF2-40B4-BE49-F238E27FC236}">
                <a16:creationId xmlns:a16="http://schemas.microsoft.com/office/drawing/2014/main" id="{DCACDBB0-BD96-446C-8F63-C56E4AA10FB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37466" y="6554735"/>
            <a:ext cx="476084" cy="177524"/>
          </a:xfrm>
          <a:prstGeom prst="rect">
            <a:avLst/>
          </a:prstGeom>
        </p:spPr>
      </p:pic>
      <p:sp>
        <p:nvSpPr>
          <p:cNvPr id="9" name="TextBox 8">
            <a:extLst>
              <a:ext uri="{FF2B5EF4-FFF2-40B4-BE49-F238E27FC236}">
                <a16:creationId xmlns:a16="http://schemas.microsoft.com/office/drawing/2014/main" id="{51520E06-BF98-49FF-91DB-15EBE855DD9E}"/>
              </a:ext>
            </a:extLst>
          </p:cNvPr>
          <p:cNvSpPr txBox="1"/>
          <p:nvPr userDrawn="1"/>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bg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err="1">
              <a:ln>
                <a:noFill/>
              </a:ln>
              <a:solidFill>
                <a:schemeClr val="bg2"/>
              </a:solidFill>
              <a:effectLst/>
              <a:uFillTx/>
              <a:latin typeface="+mn-lt"/>
              <a:ea typeface="+mn-ea"/>
              <a:cs typeface="+mn-cs"/>
              <a:sym typeface="Helvetica Neue"/>
            </a:endParaRPr>
          </a:p>
        </p:txBody>
      </p:sp>
    </p:spTree>
    <p:extLst>
      <p:ext uri="{BB962C8B-B14F-4D97-AF65-F5344CB8AC3E}">
        <p14:creationId xmlns:p14="http://schemas.microsoft.com/office/powerpoint/2010/main" val="379243016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marL="0" marR="0" indent="0" algn="l" defTabSz="609600" latinLnBrk="0">
        <a:lnSpc>
          <a:spcPct val="90000"/>
        </a:lnSpc>
        <a:spcBef>
          <a:spcPts val="0"/>
        </a:spcBef>
        <a:spcAft>
          <a:spcPts val="0"/>
        </a:spcAft>
        <a:buClrTx/>
        <a:buSzTx/>
        <a:buFontTx/>
        <a:buNone/>
        <a:tabLst/>
        <a:defRPr sz="4000" b="0" i="0" u="none" strike="noStrike" cap="none" spc="0" baseline="0">
          <a:solidFill>
            <a:schemeClr val="bg2"/>
          </a:solidFill>
          <a:uFillTx/>
          <a:latin typeface="IntelOne Display Regular" panose="020B0503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latinLnBrk="0">
        <a:lnSpc>
          <a:spcPct val="100000"/>
        </a:lnSpc>
        <a:spcBef>
          <a:spcPts val="1200"/>
        </a:spcBef>
        <a:spcAft>
          <a:spcPts val="0"/>
        </a:spcAft>
        <a:buClrTx/>
        <a:buSzTx/>
        <a:buFont typeface="Wingdings" pitchFamily="2" charset="2"/>
        <a:buChar char="§"/>
        <a:tabLst/>
        <a:defRPr sz="2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1pPr>
      <a:lvl2pPr marL="0" marR="0" indent="2286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2pPr>
      <a:lvl3pPr marL="0" marR="0" indent="4572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3pPr>
      <a:lvl4pPr marL="0" marR="0" indent="6858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4pPr>
      <a:lvl5pPr marL="0" marR="0" indent="9144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5pPr>
      <a:lvl6pPr marL="0" marR="0" indent="11430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6pPr>
      <a:lvl7pPr marL="0" marR="0" indent="13716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7pPr>
      <a:lvl8pPr marL="0" marR="0" indent="16002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8pPr>
      <a:lvl9pPr marL="0" marR="0" indent="18288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9pPr>
    </p:otherStyle>
  </p:txStyles>
  <p:extLst>
    <p:ext uri="{27BBF7A9-308A-43DC-89C8-2F10F3537804}">
      <p15:sldGuideLst xmlns:p15="http://schemas.microsoft.com/office/powerpoint/2012/main">
        <p15:guide id="1" pos="288">
          <p15:clr>
            <a:srgbClr val="F26B43"/>
          </p15:clr>
        </p15:guide>
        <p15:guide id="2" pos="739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hyperlink" Target="mailto:rajani.pandrangi@lekhawireless.com" TargetMode="Externa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emf"/><Relationship Id="rId11" Type="http://schemas.openxmlformats.org/officeDocument/2006/relationships/hyperlink" Target="mailto:Sankalp.mittal@intel.com" TargetMode="External"/><Relationship Id="rId5" Type="http://schemas.openxmlformats.org/officeDocument/2006/relationships/oleObject" Target="../embeddings/oleObject1.bin"/><Relationship Id="rId10" Type="http://schemas.openxmlformats.org/officeDocument/2006/relationships/hyperlink" Target="https://www.lekhawireless.com/products/portfolio" TargetMode="External"/><Relationship Id="rId4" Type="http://schemas.openxmlformats.org/officeDocument/2006/relationships/image" Target="../media/image4.jpeg"/><Relationship Id="rId9"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Content Placeholder 47" descr="AWARE is a digital health clinical decision support system that provides a clinical “smart view” of Electronic Health Record data to reduce the risk of medical error and improve patient outcomes. We provide point of care and clinical command center solutions to improve care for conditions like sepsis. It works with your EMR system and bedside monitors to present only relevant information configurable for your care practice on a single screen dashboard.&#10;">
            <a:extLst>
              <a:ext uri="{FF2B5EF4-FFF2-40B4-BE49-F238E27FC236}">
                <a16:creationId xmlns:a16="http://schemas.microsoft.com/office/drawing/2014/main" id="{A3C8C450-13C1-388A-57F1-4D05BDBFC710}"/>
              </a:ext>
            </a:extLst>
          </p:cNvPr>
          <p:cNvSpPr txBox="1">
            <a:spLocks/>
          </p:cNvSpPr>
          <p:nvPr/>
        </p:nvSpPr>
        <p:spPr>
          <a:xfrm>
            <a:off x="280784" y="2168333"/>
            <a:ext cx="9153872" cy="336989"/>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a:defRPr/>
            </a:pPr>
            <a:r>
              <a:rPr lang="en-US" sz="1050" dirty="0">
                <a:solidFill>
                  <a:srgbClr val="525252"/>
                </a:solidFill>
                <a:latin typeface="IntelOne Text"/>
                <a:ea typeface="+mn-ea"/>
                <a:cs typeface="+mn-cs"/>
              </a:rPr>
              <a:t>Mobile networks are migrating to open, disaggregated 5G RAN, widening the vendor base from a handful of global companies with proprietary solutions, reducing costs, enhancing market responsiveness, and preventing vendor lock-in. </a:t>
            </a:r>
            <a:r>
              <a:rPr lang="en-IN" sz="1050" dirty="0">
                <a:solidFill>
                  <a:srgbClr val="525252"/>
                </a:solidFill>
                <a:latin typeface="IntelOne Text"/>
                <a:ea typeface="+mn-ea"/>
                <a:cs typeface="+mn-cs"/>
              </a:rPr>
              <a:t>Lekha’s O-RAN 5G solution meets this need, supporting a </a:t>
            </a:r>
            <a:r>
              <a:rPr lang="en-US" sz="1050" dirty="0">
                <a:solidFill>
                  <a:srgbClr val="525252"/>
                </a:solidFill>
                <a:latin typeface="IntelOne Text"/>
                <a:ea typeface="+mn-ea"/>
                <a:cs typeface="+mn-cs"/>
              </a:rPr>
              <a:t>range of applications that require low latency and jitter, high throughput, and mobility. Use cases include factory automation, remote operation of TGVs &amp; UAVs, mission-critical railway communications, movable asset tracking, and others.</a:t>
            </a:r>
            <a:endParaRPr lang="en-IN" sz="1050" dirty="0">
              <a:solidFill>
                <a:srgbClr val="525252"/>
              </a:solidFill>
              <a:latin typeface="IntelOne Text"/>
              <a:ea typeface="+mn-ea"/>
              <a:cs typeface="+mn-cs"/>
            </a:endParaRPr>
          </a:p>
        </p:txBody>
      </p:sp>
      <p:pic>
        <p:nvPicPr>
          <p:cNvPr id="63" name="Picture 62">
            <a:extLst>
              <a:ext uri="{FF2B5EF4-FFF2-40B4-BE49-F238E27FC236}">
                <a16:creationId xmlns:a16="http://schemas.microsoft.com/office/drawing/2014/main" id="{475F9CA4-E587-46EF-B08C-6324044B0DFE}"/>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9531" r="3372" b="29945"/>
          <a:stretch/>
        </p:blipFill>
        <p:spPr>
          <a:xfrm>
            <a:off x="-419" y="-6167"/>
            <a:ext cx="11740896" cy="1821119"/>
          </a:xfrm>
          <a:prstGeom prst="rect">
            <a:avLst/>
          </a:prstGeom>
        </p:spPr>
      </p:pic>
      <p:sp>
        <p:nvSpPr>
          <p:cNvPr id="56" name="Freeform: Shape 55">
            <a:extLst>
              <a:ext uri="{FF2B5EF4-FFF2-40B4-BE49-F238E27FC236}">
                <a16:creationId xmlns:a16="http://schemas.microsoft.com/office/drawing/2014/main" id="{DF95A244-A1E3-478E-8AA0-22F4B82322DF}"/>
              </a:ext>
              <a:ext uri="{C183D7F6-B498-43B3-948B-1728B52AA6E4}">
                <adec:decorative xmlns:adec="http://schemas.microsoft.com/office/drawing/2017/decorative" val="1"/>
              </a:ext>
            </a:extLst>
          </p:cNvPr>
          <p:cNvSpPr/>
          <p:nvPr/>
        </p:nvSpPr>
        <p:spPr>
          <a:xfrm>
            <a:off x="-419" y="-9243"/>
            <a:ext cx="11725359" cy="1828800"/>
          </a:xfrm>
          <a:custGeom>
            <a:avLst/>
            <a:gdLst>
              <a:gd name="connsiteX0" fmla="*/ 0 w 11725359"/>
              <a:gd name="connsiteY0" fmla="*/ 0 h 1828800"/>
              <a:gd name="connsiteX1" fmla="*/ 11725359 w 11725359"/>
              <a:gd name="connsiteY1" fmla="*/ 0 h 1828800"/>
              <a:gd name="connsiteX2" fmla="*/ 11725359 w 11725359"/>
              <a:gd name="connsiteY2" fmla="*/ 1828800 h 1828800"/>
              <a:gd name="connsiteX3" fmla="*/ 0 w 11725359"/>
              <a:gd name="connsiteY3" fmla="*/ 1828800 h 1828800"/>
            </a:gdLst>
            <a:ahLst/>
            <a:cxnLst>
              <a:cxn ang="0">
                <a:pos x="connsiteX0" y="connsiteY0"/>
              </a:cxn>
              <a:cxn ang="0">
                <a:pos x="connsiteX1" y="connsiteY1"/>
              </a:cxn>
              <a:cxn ang="0">
                <a:pos x="connsiteX2" y="connsiteY2"/>
              </a:cxn>
              <a:cxn ang="0">
                <a:pos x="connsiteX3" y="connsiteY3"/>
              </a:cxn>
            </a:cxnLst>
            <a:rect l="l" t="t" r="r" b="b"/>
            <a:pathLst>
              <a:path w="11725359" h="1828800">
                <a:moveTo>
                  <a:pt x="0" y="0"/>
                </a:moveTo>
                <a:lnTo>
                  <a:pt x="11725359" y="0"/>
                </a:lnTo>
                <a:lnTo>
                  <a:pt x="11725359" y="1828800"/>
                </a:lnTo>
                <a:lnTo>
                  <a:pt x="0" y="1828800"/>
                </a:lnTo>
                <a:close/>
              </a:path>
            </a:pathLst>
          </a:cu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96" name="Rectangle 95">
            <a:hlinkClick r:id="" action="ppaction://noaction"/>
            <a:extLst>
              <a:ext uri="{FF2B5EF4-FFF2-40B4-BE49-F238E27FC236}">
                <a16:creationId xmlns:a16="http://schemas.microsoft.com/office/drawing/2014/main" id="{43D15D43-62C0-4653-BDA7-947CC6A4B250}"/>
              </a:ext>
              <a:ext uri="{C183D7F6-B498-43B3-948B-1728B52AA6E4}">
                <adec:decorative xmlns:adec="http://schemas.microsoft.com/office/drawing/2017/decorative" val="1"/>
              </a:ext>
            </a:extLst>
          </p:cNvPr>
          <p:cNvSpPr/>
          <p:nvPr/>
        </p:nvSpPr>
        <p:spPr>
          <a:xfrm>
            <a:off x="9483793" y="122826"/>
            <a:ext cx="1527831"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97" name="Rectangle 96">
            <a:hlinkClick r:id="" action="ppaction://noaction"/>
            <a:extLst>
              <a:ext uri="{FF2B5EF4-FFF2-40B4-BE49-F238E27FC236}">
                <a16:creationId xmlns:a16="http://schemas.microsoft.com/office/drawing/2014/main" id="{C2A42637-2D85-4898-A9E7-F6A5BD728E83}"/>
              </a:ext>
              <a:ext uri="{C183D7F6-B498-43B3-948B-1728B52AA6E4}">
                <adec:decorative xmlns:adec="http://schemas.microsoft.com/office/drawing/2017/decorative" val="1"/>
              </a:ext>
            </a:extLst>
          </p:cNvPr>
          <p:cNvSpPr/>
          <p:nvPr/>
        </p:nvSpPr>
        <p:spPr>
          <a:xfrm>
            <a:off x="8076246" y="122826"/>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graphicFrame>
        <p:nvGraphicFramePr>
          <p:cNvPr id="60" name="Object 59">
            <a:extLst>
              <a:ext uri="{FF2B5EF4-FFF2-40B4-BE49-F238E27FC236}">
                <a16:creationId xmlns:a16="http://schemas.microsoft.com/office/drawing/2014/main" id="{6453E352-BB86-4863-8D28-5B4AA11CF412}"/>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0" name="Object 59">
                        <a:extLst>
                          <a:ext uri="{FF2B5EF4-FFF2-40B4-BE49-F238E27FC236}">
                            <a16:creationId xmlns:a16="http://schemas.microsoft.com/office/drawing/2014/main" id="{6453E352-BB86-4863-8D28-5B4AA11CF41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2" name="Rectangle 61">
            <a:hlinkClick r:id="" action="ppaction://noaction"/>
            <a:extLst>
              <a:ext uri="{FF2B5EF4-FFF2-40B4-BE49-F238E27FC236}">
                <a16:creationId xmlns:a16="http://schemas.microsoft.com/office/drawing/2014/main" id="{A7DDF6EA-BFB9-4968-82DA-7B15C9AE54FE}"/>
              </a:ext>
            </a:extLst>
          </p:cNvPr>
          <p:cNvSpPr/>
          <p:nvPr/>
        </p:nvSpPr>
        <p:spPr>
          <a:xfrm>
            <a:off x="8115299" y="161507"/>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Manufacturing Solutions</a:t>
            </a:r>
          </a:p>
        </p:txBody>
      </p:sp>
      <p:sp>
        <p:nvSpPr>
          <p:cNvPr id="95" name="Rectangle 94">
            <a:hlinkClick r:id="" action="ppaction://noaction"/>
            <a:extLst>
              <a:ext uri="{FF2B5EF4-FFF2-40B4-BE49-F238E27FC236}">
                <a16:creationId xmlns:a16="http://schemas.microsoft.com/office/drawing/2014/main" id="{F4ADB8C3-0D32-4C78-98AE-420EB8A54B77}"/>
              </a:ext>
            </a:extLst>
          </p:cNvPr>
          <p:cNvSpPr/>
          <p:nvPr/>
        </p:nvSpPr>
        <p:spPr>
          <a:xfrm>
            <a:off x="9527381" y="161507"/>
            <a:ext cx="1440657"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Back to </a:t>
            </a:r>
            <a:r>
              <a:rPr lang="en-US" sz="900" dirty="0">
                <a:solidFill>
                  <a:srgbClr val="525252"/>
                </a:solidFill>
                <a:latin typeface="IntelOne Text" panose="020B0503020203020204" pitchFamily="34" charset="0"/>
                <a:sym typeface="Helvetica Neue"/>
              </a:rPr>
              <a:t>Product </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900" dirty="0">
                <a:solidFill>
                  <a:srgbClr val="525252"/>
                </a:solidFill>
                <a:latin typeface="IntelOne Text" panose="020B0503020203020204" pitchFamily="34" charset="0"/>
                <a:sym typeface="Helvetica Neue"/>
              </a:rPr>
              <a:t>Inspection</a:t>
            </a:r>
            <a:endParaRPr kumimoji="0" lang="en-US" sz="900" b="0" i="0" u="none" strike="noStrike" kern="1200" cap="none" spc="0" normalizeH="0" baseline="0" noProof="0" dirty="0">
              <a:ln>
                <a:noFill/>
              </a:ln>
              <a:solidFill>
                <a:srgbClr val="525252"/>
              </a:solidFill>
              <a:effectLst/>
              <a:uLnTx/>
              <a:uFillTx/>
              <a:latin typeface="IntelOne Text" panose="020B0503020203020204" pitchFamily="34" charset="0"/>
              <a:sym typeface="Helvetica Neue"/>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Use Cases</a:t>
            </a:r>
          </a:p>
        </p:txBody>
      </p:sp>
      <p:sp>
        <p:nvSpPr>
          <p:cNvPr id="98" name="Rectangle 46" descr="Back to the home page with document use instructions">
            <a:hlinkClick r:id="" action="ppaction://noaction"/>
            <a:extLst>
              <a:ext uri="{FF2B5EF4-FFF2-40B4-BE49-F238E27FC236}">
                <a16:creationId xmlns:a16="http://schemas.microsoft.com/office/drawing/2014/main" id="{27E88EAC-485F-4715-AFBC-E8DF78F2C62A}"/>
              </a:ext>
            </a:extLst>
          </p:cNvPr>
          <p:cNvSpPr/>
          <p:nvPr/>
        </p:nvSpPr>
        <p:spPr bwMode="auto">
          <a:xfrm>
            <a:off x="11091622" y="120748"/>
            <a:ext cx="449504" cy="40079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1218768"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 Clear"/>
              <a:ea typeface="Segoe UI" pitchFamily="34" charset="0"/>
              <a:cs typeface="Segoe UI" pitchFamily="34" charset="0"/>
              <a:sym typeface="Helvetica Neue"/>
            </a:endParaRPr>
          </a:p>
        </p:txBody>
      </p:sp>
      <p:sp>
        <p:nvSpPr>
          <p:cNvPr id="117" name="Rectangle 116">
            <a:extLst>
              <a:ext uri="{FF2B5EF4-FFF2-40B4-BE49-F238E27FC236}">
                <a16:creationId xmlns:a16="http://schemas.microsoft.com/office/drawing/2014/main" id="{C7F3B2DF-44F7-40DD-991B-A70DB454DC80}"/>
              </a:ext>
              <a:ext uri="{C183D7F6-B498-43B3-948B-1728B52AA6E4}">
                <adec:decorative xmlns:adec="http://schemas.microsoft.com/office/drawing/2017/decorative" val="1"/>
              </a:ext>
            </a:extLst>
          </p:cNvPr>
          <p:cNvSpPr/>
          <p:nvPr/>
        </p:nvSpPr>
        <p:spPr>
          <a:xfrm>
            <a:off x="253315" y="1972774"/>
            <a:ext cx="182880" cy="182880"/>
          </a:xfrm>
          <a:prstGeom prst="rect">
            <a:avLst/>
          </a:prstGeom>
          <a:solidFill>
            <a:srgbClr val="818181"/>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18" name="Straight Connector 117">
            <a:extLst>
              <a:ext uri="{FF2B5EF4-FFF2-40B4-BE49-F238E27FC236}">
                <a16:creationId xmlns:a16="http://schemas.microsoft.com/office/drawing/2014/main" id="{64AF0730-AAE5-4D55-AE2D-6E73347069FE}"/>
              </a:ext>
              <a:ext uri="{C183D7F6-B498-43B3-948B-1728B52AA6E4}">
                <adec:decorative xmlns:adec="http://schemas.microsoft.com/office/drawing/2017/decorative" val="1"/>
              </a:ext>
            </a:extLst>
          </p:cNvPr>
          <p:cNvCxnSpPr>
            <a:cxnSpLocks/>
          </p:cNvCxnSpPr>
          <p:nvPr/>
        </p:nvCxnSpPr>
        <p:spPr>
          <a:xfrm>
            <a:off x="435790" y="2168332"/>
            <a:ext cx="8998866"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120" name="Rectangle 119">
            <a:extLst>
              <a:ext uri="{FF2B5EF4-FFF2-40B4-BE49-F238E27FC236}">
                <a16:creationId xmlns:a16="http://schemas.microsoft.com/office/drawing/2014/main" id="{FFEBF4AA-E1B2-43C7-9D07-F6F0529CFBC4}"/>
              </a:ext>
              <a:ext uri="{C183D7F6-B498-43B3-948B-1728B52AA6E4}">
                <adec:decorative xmlns:adec="http://schemas.microsoft.com/office/drawing/2017/decorative" val="1"/>
              </a:ext>
            </a:extLst>
          </p:cNvPr>
          <p:cNvSpPr/>
          <p:nvPr/>
        </p:nvSpPr>
        <p:spPr>
          <a:xfrm>
            <a:off x="250528" y="3097697"/>
            <a:ext cx="182880" cy="182880"/>
          </a:xfrm>
          <a:prstGeom prst="rect">
            <a:avLst/>
          </a:prstGeom>
          <a:solidFill>
            <a:srgbClr val="818181"/>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grpSp>
        <p:nvGrpSpPr>
          <p:cNvPr id="124" name="Group 123">
            <a:extLst>
              <a:ext uri="{FF2B5EF4-FFF2-40B4-BE49-F238E27FC236}">
                <a16:creationId xmlns:a16="http://schemas.microsoft.com/office/drawing/2014/main" id="{65521251-4254-4250-8AB9-1FD4216BC3FE}"/>
              </a:ext>
              <a:ext uri="{C183D7F6-B498-43B3-948B-1728B52AA6E4}">
                <adec:decorative xmlns:adec="http://schemas.microsoft.com/office/drawing/2017/decorative" val="1"/>
              </a:ext>
            </a:extLst>
          </p:cNvPr>
          <p:cNvGrpSpPr/>
          <p:nvPr/>
        </p:nvGrpSpPr>
        <p:grpSpPr>
          <a:xfrm>
            <a:off x="280784" y="4800214"/>
            <a:ext cx="384092" cy="360095"/>
            <a:chOff x="253392" y="4745126"/>
            <a:chExt cx="400741" cy="375704"/>
          </a:xfrm>
          <a:solidFill>
            <a:srgbClr val="818181"/>
          </a:solidFill>
        </p:grpSpPr>
        <p:sp>
          <p:nvSpPr>
            <p:cNvPr id="125" name="Freeform: Shape 124">
              <a:extLst>
                <a:ext uri="{FF2B5EF4-FFF2-40B4-BE49-F238E27FC236}">
                  <a16:creationId xmlns:a16="http://schemas.microsoft.com/office/drawing/2014/main" id="{4EAFA27D-5728-46B9-8DBD-B2B9DC7A4837}"/>
                </a:ext>
              </a:extLst>
            </p:cNvPr>
            <p:cNvSpPr/>
            <p:nvPr/>
          </p:nvSpPr>
          <p:spPr>
            <a:xfrm>
              <a:off x="253392" y="4745126"/>
              <a:ext cx="400741" cy="375704"/>
            </a:xfrm>
            <a:custGeom>
              <a:avLst/>
              <a:gdLst>
                <a:gd name="connsiteX0" fmla="*/ 33106 w 400741"/>
                <a:gd name="connsiteY0" fmla="*/ 301180 h 375704"/>
                <a:gd name="connsiteX1" fmla="*/ 76408 w 400741"/>
                <a:gd name="connsiteY1" fmla="*/ 301180 h 375704"/>
                <a:gd name="connsiteX2" fmla="*/ 76408 w 400741"/>
                <a:gd name="connsiteY2" fmla="*/ 366999 h 375704"/>
                <a:gd name="connsiteX3" fmla="*/ 81290 w 400741"/>
                <a:gd name="connsiteY3" fmla="*/ 374872 h 375704"/>
                <a:gd name="connsiteX4" fmla="*/ 84833 w 400741"/>
                <a:gd name="connsiteY4" fmla="*/ 375660 h 375704"/>
                <a:gd name="connsiteX5" fmla="*/ 90265 w 400741"/>
                <a:gd name="connsiteY5" fmla="*/ 373691 h 375704"/>
                <a:gd name="connsiteX6" fmla="*/ 175374 w 400741"/>
                <a:gd name="connsiteY6" fmla="*/ 301574 h 375704"/>
                <a:gd name="connsiteX7" fmla="*/ 367163 w 400741"/>
                <a:gd name="connsiteY7" fmla="*/ 301574 h 375704"/>
                <a:gd name="connsiteX8" fmla="*/ 400545 w 400741"/>
                <a:gd name="connsiteY8" fmla="*/ 268192 h 375704"/>
                <a:gd name="connsiteX9" fmla="*/ 400545 w 400741"/>
                <a:gd name="connsiteY9" fmla="*/ 33337 h 375704"/>
                <a:gd name="connsiteX10" fmla="*/ 367163 w 400741"/>
                <a:gd name="connsiteY10" fmla="*/ -45 h 375704"/>
                <a:gd name="connsiteX11" fmla="*/ 33106 w 400741"/>
                <a:gd name="connsiteY11" fmla="*/ -45 h 375704"/>
                <a:gd name="connsiteX12" fmla="*/ -197 w 400741"/>
                <a:gd name="connsiteY12" fmla="*/ 33337 h 375704"/>
                <a:gd name="connsiteX13" fmla="*/ -197 w 400741"/>
                <a:gd name="connsiteY13" fmla="*/ 267956 h 375704"/>
                <a:gd name="connsiteX14" fmla="*/ 33106 w 400741"/>
                <a:gd name="connsiteY14" fmla="*/ 301180 h 37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0741" h="375704">
                  <a:moveTo>
                    <a:pt x="33106" y="301180"/>
                  </a:moveTo>
                  <a:lnTo>
                    <a:pt x="76408" y="301180"/>
                  </a:lnTo>
                  <a:lnTo>
                    <a:pt x="76408" y="366999"/>
                  </a:lnTo>
                  <a:cubicBezTo>
                    <a:pt x="76361" y="370352"/>
                    <a:pt x="78267" y="373427"/>
                    <a:pt x="81290" y="374872"/>
                  </a:cubicBezTo>
                  <a:cubicBezTo>
                    <a:pt x="82408" y="375357"/>
                    <a:pt x="83612" y="375625"/>
                    <a:pt x="84833" y="375660"/>
                  </a:cubicBezTo>
                  <a:cubicBezTo>
                    <a:pt x="86817" y="375664"/>
                    <a:pt x="88746" y="374968"/>
                    <a:pt x="90265" y="373691"/>
                  </a:cubicBezTo>
                  <a:lnTo>
                    <a:pt x="175374" y="301574"/>
                  </a:lnTo>
                  <a:lnTo>
                    <a:pt x="367163" y="301574"/>
                  </a:lnTo>
                  <a:cubicBezTo>
                    <a:pt x="385578" y="301530"/>
                    <a:pt x="400505" y="286610"/>
                    <a:pt x="400545" y="268192"/>
                  </a:cubicBezTo>
                  <a:lnTo>
                    <a:pt x="400545" y="33337"/>
                  </a:lnTo>
                  <a:cubicBezTo>
                    <a:pt x="400545" y="14901"/>
                    <a:pt x="385602" y="-45"/>
                    <a:pt x="367163" y="-45"/>
                  </a:cubicBezTo>
                  <a:lnTo>
                    <a:pt x="33106" y="-45"/>
                  </a:lnTo>
                  <a:cubicBezTo>
                    <a:pt x="14699" y="-2"/>
                    <a:pt x="-197" y="14931"/>
                    <a:pt x="-197" y="33337"/>
                  </a:cubicBezTo>
                  <a:lnTo>
                    <a:pt x="-197" y="267956"/>
                  </a:lnTo>
                  <a:cubicBezTo>
                    <a:pt x="-110" y="286300"/>
                    <a:pt x="14762" y="301137"/>
                    <a:pt x="33106" y="301180"/>
                  </a:cubicBezTo>
                  <a:close/>
                </a:path>
              </a:pathLst>
            </a:custGeom>
            <a:grpFill/>
            <a:ln w="7844"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26" name="Freeform: Shape 125">
              <a:extLst>
                <a:ext uri="{FF2B5EF4-FFF2-40B4-BE49-F238E27FC236}">
                  <a16:creationId xmlns:a16="http://schemas.microsoft.com/office/drawing/2014/main" id="{5A0868AF-6404-4542-8A2F-FA88DC6DC968}"/>
                </a:ext>
              </a:extLst>
            </p:cNvPr>
            <p:cNvSpPr/>
            <p:nvPr/>
          </p:nvSpPr>
          <p:spPr>
            <a:xfrm>
              <a:off x="521460" y="4842402"/>
              <a:ext cx="83611" cy="79806"/>
            </a:xfrm>
            <a:custGeom>
              <a:avLst/>
              <a:gdLst>
                <a:gd name="connsiteX0" fmla="*/ 366 w 83611"/>
                <a:gd name="connsiteY0" fmla="*/ 29751 h 79806"/>
                <a:gd name="connsiteX1" fmla="*/ 6035 w 83611"/>
                <a:gd name="connsiteY1" fmla="*/ 24948 h 79806"/>
                <a:gd name="connsiteX2" fmla="*/ 26348 w 83611"/>
                <a:gd name="connsiteY2" fmla="*/ 22035 h 79806"/>
                <a:gd name="connsiteX3" fmla="*/ 35402 w 83611"/>
                <a:gd name="connsiteY3" fmla="*/ 3612 h 79806"/>
                <a:gd name="connsiteX4" fmla="*/ 45409 w 83611"/>
                <a:gd name="connsiteY4" fmla="*/ 941 h 79806"/>
                <a:gd name="connsiteX5" fmla="*/ 48078 w 83611"/>
                <a:gd name="connsiteY5" fmla="*/ 3612 h 79806"/>
                <a:gd name="connsiteX6" fmla="*/ 57132 w 83611"/>
                <a:gd name="connsiteY6" fmla="*/ 22035 h 79806"/>
                <a:gd name="connsiteX7" fmla="*/ 77444 w 83611"/>
                <a:gd name="connsiteY7" fmla="*/ 24948 h 79806"/>
                <a:gd name="connsiteX8" fmla="*/ 83326 w 83611"/>
                <a:gd name="connsiteY8" fmla="*/ 33060 h 79806"/>
                <a:gd name="connsiteX9" fmla="*/ 81381 w 83611"/>
                <a:gd name="connsiteY9" fmla="*/ 36915 h 79806"/>
                <a:gd name="connsiteX10" fmla="*/ 66579 w 83611"/>
                <a:gd name="connsiteY10" fmla="*/ 51244 h 79806"/>
                <a:gd name="connsiteX11" fmla="*/ 70122 w 83611"/>
                <a:gd name="connsiteY11" fmla="*/ 71557 h 79806"/>
                <a:gd name="connsiteX12" fmla="*/ 67288 w 83611"/>
                <a:gd name="connsiteY12" fmla="*/ 78406 h 79806"/>
                <a:gd name="connsiteX13" fmla="*/ 63115 w 83611"/>
                <a:gd name="connsiteY13" fmla="*/ 79745 h 79806"/>
                <a:gd name="connsiteX14" fmla="*/ 59887 w 83611"/>
                <a:gd name="connsiteY14" fmla="*/ 78957 h 79806"/>
                <a:gd name="connsiteX15" fmla="*/ 41700 w 83611"/>
                <a:gd name="connsiteY15" fmla="*/ 69431 h 79806"/>
                <a:gd name="connsiteX16" fmla="*/ 23513 w 83611"/>
                <a:gd name="connsiteY16" fmla="*/ 78957 h 79806"/>
                <a:gd name="connsiteX17" fmla="*/ 16113 w 83611"/>
                <a:gd name="connsiteY17" fmla="*/ 78406 h 79806"/>
                <a:gd name="connsiteX18" fmla="*/ 13278 w 83611"/>
                <a:gd name="connsiteY18" fmla="*/ 71557 h 79806"/>
                <a:gd name="connsiteX19" fmla="*/ 16821 w 83611"/>
                <a:gd name="connsiteY19" fmla="*/ 51244 h 79806"/>
                <a:gd name="connsiteX20" fmla="*/ 2020 w 83611"/>
                <a:gd name="connsiteY20" fmla="*/ 37624 h 79806"/>
                <a:gd name="connsiteX21" fmla="*/ 366 w 83611"/>
                <a:gd name="connsiteY21" fmla="*/ 29751 h 7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3611" h="79806">
                  <a:moveTo>
                    <a:pt x="366" y="29751"/>
                  </a:moveTo>
                  <a:cubicBezTo>
                    <a:pt x="1201" y="27208"/>
                    <a:pt x="3390" y="25350"/>
                    <a:pt x="6035" y="24948"/>
                  </a:cubicBezTo>
                  <a:lnTo>
                    <a:pt x="26348" y="22035"/>
                  </a:lnTo>
                  <a:lnTo>
                    <a:pt x="35402" y="3612"/>
                  </a:lnTo>
                  <a:cubicBezTo>
                    <a:pt x="37425" y="111"/>
                    <a:pt x="41905" y="-1084"/>
                    <a:pt x="45409" y="941"/>
                  </a:cubicBezTo>
                  <a:cubicBezTo>
                    <a:pt x="46519" y="1582"/>
                    <a:pt x="47440" y="2503"/>
                    <a:pt x="48078" y="3612"/>
                  </a:cubicBezTo>
                  <a:lnTo>
                    <a:pt x="57132" y="22035"/>
                  </a:lnTo>
                  <a:lnTo>
                    <a:pt x="77444" y="24948"/>
                  </a:lnTo>
                  <a:cubicBezTo>
                    <a:pt x="81310" y="25564"/>
                    <a:pt x="83940" y="29196"/>
                    <a:pt x="83326" y="33060"/>
                  </a:cubicBezTo>
                  <a:cubicBezTo>
                    <a:pt x="83097" y="34516"/>
                    <a:pt x="82412" y="35864"/>
                    <a:pt x="81381" y="36915"/>
                  </a:cubicBezTo>
                  <a:lnTo>
                    <a:pt x="66579" y="51244"/>
                  </a:lnTo>
                  <a:lnTo>
                    <a:pt x="70122" y="71557"/>
                  </a:lnTo>
                  <a:cubicBezTo>
                    <a:pt x="70540" y="74191"/>
                    <a:pt x="69445" y="76839"/>
                    <a:pt x="67288" y="78406"/>
                  </a:cubicBezTo>
                  <a:cubicBezTo>
                    <a:pt x="66091" y="79313"/>
                    <a:pt x="64619" y="79786"/>
                    <a:pt x="63115" y="79745"/>
                  </a:cubicBezTo>
                  <a:cubicBezTo>
                    <a:pt x="61989" y="79764"/>
                    <a:pt x="60879" y="79494"/>
                    <a:pt x="59887" y="78957"/>
                  </a:cubicBezTo>
                  <a:lnTo>
                    <a:pt x="41700" y="69431"/>
                  </a:lnTo>
                  <a:lnTo>
                    <a:pt x="23513" y="78957"/>
                  </a:lnTo>
                  <a:cubicBezTo>
                    <a:pt x="21144" y="80202"/>
                    <a:pt x="18270" y="79989"/>
                    <a:pt x="16113" y="78406"/>
                  </a:cubicBezTo>
                  <a:cubicBezTo>
                    <a:pt x="13955" y="76839"/>
                    <a:pt x="12861" y="74191"/>
                    <a:pt x="13278" y="71557"/>
                  </a:cubicBezTo>
                  <a:lnTo>
                    <a:pt x="16821" y="51244"/>
                  </a:lnTo>
                  <a:lnTo>
                    <a:pt x="2020" y="37624"/>
                  </a:lnTo>
                  <a:cubicBezTo>
                    <a:pt x="-129" y="35609"/>
                    <a:pt x="-791" y="32461"/>
                    <a:pt x="366" y="29751"/>
                  </a:cubicBezTo>
                  <a:close/>
                </a:path>
              </a:pathLst>
            </a:custGeom>
            <a:grpFill/>
            <a:ln w="7844"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27" name="Freeform: Shape 126">
              <a:extLst>
                <a:ext uri="{FF2B5EF4-FFF2-40B4-BE49-F238E27FC236}">
                  <a16:creationId xmlns:a16="http://schemas.microsoft.com/office/drawing/2014/main" id="{8801A091-499E-40E7-854A-B6831B52C59B}"/>
                </a:ext>
              </a:extLst>
            </p:cNvPr>
            <p:cNvSpPr/>
            <p:nvPr/>
          </p:nvSpPr>
          <p:spPr>
            <a:xfrm>
              <a:off x="411734" y="4842391"/>
              <a:ext cx="83646" cy="79801"/>
            </a:xfrm>
            <a:custGeom>
              <a:avLst/>
              <a:gdLst>
                <a:gd name="connsiteX0" fmla="*/ 341 w 83646"/>
                <a:gd name="connsiteY0" fmla="*/ 29761 h 79801"/>
                <a:gd name="connsiteX1" fmla="*/ 6010 w 83646"/>
                <a:gd name="connsiteY1" fmla="*/ 24959 h 79801"/>
                <a:gd name="connsiteX2" fmla="*/ 26322 w 83646"/>
                <a:gd name="connsiteY2" fmla="*/ 22046 h 79801"/>
                <a:gd name="connsiteX3" fmla="*/ 35455 w 83646"/>
                <a:gd name="connsiteY3" fmla="*/ 3623 h 79801"/>
                <a:gd name="connsiteX4" fmla="*/ 45328 w 83646"/>
                <a:gd name="connsiteY4" fmla="*/ 901 h 79801"/>
                <a:gd name="connsiteX5" fmla="*/ 48052 w 83646"/>
                <a:gd name="connsiteY5" fmla="*/ 3623 h 79801"/>
                <a:gd name="connsiteX6" fmla="*/ 57106 w 83646"/>
                <a:gd name="connsiteY6" fmla="*/ 22046 h 79801"/>
                <a:gd name="connsiteX7" fmla="*/ 77498 w 83646"/>
                <a:gd name="connsiteY7" fmla="*/ 24959 h 79801"/>
                <a:gd name="connsiteX8" fmla="*/ 83088 w 83646"/>
                <a:gd name="connsiteY8" fmla="*/ 29761 h 79801"/>
                <a:gd name="connsiteX9" fmla="*/ 81356 w 83646"/>
                <a:gd name="connsiteY9" fmla="*/ 36926 h 79801"/>
                <a:gd name="connsiteX10" fmla="*/ 66633 w 83646"/>
                <a:gd name="connsiteY10" fmla="*/ 51255 h 79801"/>
                <a:gd name="connsiteX11" fmla="*/ 70097 w 83646"/>
                <a:gd name="connsiteY11" fmla="*/ 71568 h 79801"/>
                <a:gd name="connsiteX12" fmla="*/ 64192 w 83646"/>
                <a:gd name="connsiteY12" fmla="*/ 79664 h 79801"/>
                <a:gd name="connsiteX13" fmla="*/ 59862 w 83646"/>
                <a:gd name="connsiteY13" fmla="*/ 78968 h 79801"/>
                <a:gd name="connsiteX14" fmla="*/ 41754 w 83646"/>
                <a:gd name="connsiteY14" fmla="*/ 69442 h 79801"/>
                <a:gd name="connsiteX15" fmla="*/ 23646 w 83646"/>
                <a:gd name="connsiteY15" fmla="*/ 78968 h 79801"/>
                <a:gd name="connsiteX16" fmla="*/ 20339 w 83646"/>
                <a:gd name="connsiteY16" fmla="*/ 79756 h 79801"/>
                <a:gd name="connsiteX17" fmla="*/ 16166 w 83646"/>
                <a:gd name="connsiteY17" fmla="*/ 78417 h 79801"/>
                <a:gd name="connsiteX18" fmla="*/ 13332 w 83646"/>
                <a:gd name="connsiteY18" fmla="*/ 71568 h 79801"/>
                <a:gd name="connsiteX19" fmla="*/ 16875 w 83646"/>
                <a:gd name="connsiteY19" fmla="*/ 51255 h 79801"/>
                <a:gd name="connsiteX20" fmla="*/ 2152 w 83646"/>
                <a:gd name="connsiteY20" fmla="*/ 37635 h 79801"/>
                <a:gd name="connsiteX21" fmla="*/ 341 w 83646"/>
                <a:gd name="connsiteY21" fmla="*/ 29761 h 79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3646" h="79801">
                  <a:moveTo>
                    <a:pt x="341" y="29761"/>
                  </a:moveTo>
                  <a:cubicBezTo>
                    <a:pt x="1176" y="27219"/>
                    <a:pt x="3364" y="25361"/>
                    <a:pt x="6010" y="24959"/>
                  </a:cubicBezTo>
                  <a:lnTo>
                    <a:pt x="26322" y="22046"/>
                  </a:lnTo>
                  <a:lnTo>
                    <a:pt x="35455" y="3623"/>
                  </a:lnTo>
                  <a:cubicBezTo>
                    <a:pt x="37432" y="144"/>
                    <a:pt x="41848" y="-1074"/>
                    <a:pt x="45328" y="901"/>
                  </a:cubicBezTo>
                  <a:cubicBezTo>
                    <a:pt x="46470" y="1547"/>
                    <a:pt x="47407" y="2487"/>
                    <a:pt x="48052" y="3623"/>
                  </a:cubicBezTo>
                  <a:lnTo>
                    <a:pt x="57106" y="22046"/>
                  </a:lnTo>
                  <a:lnTo>
                    <a:pt x="77498" y="24959"/>
                  </a:lnTo>
                  <a:cubicBezTo>
                    <a:pt x="80143" y="25316"/>
                    <a:pt x="82332" y="27198"/>
                    <a:pt x="83088" y="29761"/>
                  </a:cubicBezTo>
                  <a:cubicBezTo>
                    <a:pt x="83938" y="32284"/>
                    <a:pt x="83261" y="35069"/>
                    <a:pt x="81356" y="36926"/>
                  </a:cubicBezTo>
                  <a:lnTo>
                    <a:pt x="66633" y="51255"/>
                  </a:lnTo>
                  <a:lnTo>
                    <a:pt x="70097" y="71568"/>
                  </a:lnTo>
                  <a:cubicBezTo>
                    <a:pt x="70703" y="75434"/>
                    <a:pt x="68058" y="79059"/>
                    <a:pt x="64192" y="79664"/>
                  </a:cubicBezTo>
                  <a:cubicBezTo>
                    <a:pt x="62712" y="79897"/>
                    <a:pt x="61193" y="79653"/>
                    <a:pt x="59862" y="78968"/>
                  </a:cubicBezTo>
                  <a:lnTo>
                    <a:pt x="41754" y="69442"/>
                  </a:lnTo>
                  <a:lnTo>
                    <a:pt x="23646" y="78968"/>
                  </a:lnTo>
                  <a:cubicBezTo>
                    <a:pt x="22622" y="79495"/>
                    <a:pt x="21488" y="79765"/>
                    <a:pt x="20339" y="79756"/>
                  </a:cubicBezTo>
                  <a:cubicBezTo>
                    <a:pt x="18835" y="79784"/>
                    <a:pt x="17371" y="79313"/>
                    <a:pt x="16166" y="78417"/>
                  </a:cubicBezTo>
                  <a:cubicBezTo>
                    <a:pt x="14033" y="76827"/>
                    <a:pt x="12946" y="74198"/>
                    <a:pt x="13332" y="71568"/>
                  </a:cubicBezTo>
                  <a:lnTo>
                    <a:pt x="16875" y="51255"/>
                  </a:lnTo>
                  <a:lnTo>
                    <a:pt x="2152" y="37635"/>
                  </a:lnTo>
                  <a:cubicBezTo>
                    <a:pt x="-76" y="35670"/>
                    <a:pt x="-808" y="32503"/>
                    <a:pt x="341" y="29761"/>
                  </a:cubicBezTo>
                  <a:close/>
                </a:path>
              </a:pathLst>
            </a:custGeom>
            <a:grpFill/>
            <a:ln w="7844"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28" name="Freeform: Shape 127">
              <a:extLst>
                <a:ext uri="{FF2B5EF4-FFF2-40B4-BE49-F238E27FC236}">
                  <a16:creationId xmlns:a16="http://schemas.microsoft.com/office/drawing/2014/main" id="{D45EB3BE-4293-4B87-9FF0-DE2D40965068}"/>
                </a:ext>
              </a:extLst>
            </p:cNvPr>
            <p:cNvSpPr/>
            <p:nvPr/>
          </p:nvSpPr>
          <p:spPr>
            <a:xfrm>
              <a:off x="302114" y="4842391"/>
              <a:ext cx="83636" cy="79801"/>
            </a:xfrm>
            <a:custGeom>
              <a:avLst/>
              <a:gdLst>
                <a:gd name="connsiteX0" fmla="*/ 366 w 83636"/>
                <a:gd name="connsiteY0" fmla="*/ 29761 h 79801"/>
                <a:gd name="connsiteX1" fmla="*/ 5956 w 83636"/>
                <a:gd name="connsiteY1" fmla="*/ 24959 h 79801"/>
                <a:gd name="connsiteX2" fmla="*/ 26348 w 83636"/>
                <a:gd name="connsiteY2" fmla="*/ 22046 h 79801"/>
                <a:gd name="connsiteX3" fmla="*/ 35402 w 83636"/>
                <a:gd name="connsiteY3" fmla="*/ 3623 h 79801"/>
                <a:gd name="connsiteX4" fmla="*/ 45275 w 83636"/>
                <a:gd name="connsiteY4" fmla="*/ 901 h 79801"/>
                <a:gd name="connsiteX5" fmla="*/ 47999 w 83636"/>
                <a:gd name="connsiteY5" fmla="*/ 3623 h 79801"/>
                <a:gd name="connsiteX6" fmla="*/ 57132 w 83636"/>
                <a:gd name="connsiteY6" fmla="*/ 22046 h 79801"/>
                <a:gd name="connsiteX7" fmla="*/ 77444 w 83636"/>
                <a:gd name="connsiteY7" fmla="*/ 24959 h 79801"/>
                <a:gd name="connsiteX8" fmla="*/ 83365 w 83636"/>
                <a:gd name="connsiteY8" fmla="*/ 32908 h 79801"/>
                <a:gd name="connsiteX9" fmla="*/ 81302 w 83636"/>
                <a:gd name="connsiteY9" fmla="*/ 36926 h 79801"/>
                <a:gd name="connsiteX10" fmla="*/ 66579 w 83636"/>
                <a:gd name="connsiteY10" fmla="*/ 51255 h 79801"/>
                <a:gd name="connsiteX11" fmla="*/ 70044 w 83636"/>
                <a:gd name="connsiteY11" fmla="*/ 71568 h 79801"/>
                <a:gd name="connsiteX12" fmla="*/ 67288 w 83636"/>
                <a:gd name="connsiteY12" fmla="*/ 78417 h 79801"/>
                <a:gd name="connsiteX13" fmla="*/ 63115 w 83636"/>
                <a:gd name="connsiteY13" fmla="*/ 79756 h 79801"/>
                <a:gd name="connsiteX14" fmla="*/ 59809 w 83636"/>
                <a:gd name="connsiteY14" fmla="*/ 78968 h 79801"/>
                <a:gd name="connsiteX15" fmla="*/ 41700 w 83636"/>
                <a:gd name="connsiteY15" fmla="*/ 69442 h 79801"/>
                <a:gd name="connsiteX16" fmla="*/ 23513 w 83636"/>
                <a:gd name="connsiteY16" fmla="*/ 78968 h 79801"/>
                <a:gd name="connsiteX17" fmla="*/ 13971 w 83636"/>
                <a:gd name="connsiteY17" fmla="*/ 75899 h 79801"/>
                <a:gd name="connsiteX18" fmla="*/ 13278 w 83636"/>
                <a:gd name="connsiteY18" fmla="*/ 71568 h 79801"/>
                <a:gd name="connsiteX19" fmla="*/ 16743 w 83636"/>
                <a:gd name="connsiteY19" fmla="*/ 51255 h 79801"/>
                <a:gd name="connsiteX20" fmla="*/ 2020 w 83636"/>
                <a:gd name="connsiteY20" fmla="*/ 37635 h 79801"/>
                <a:gd name="connsiteX21" fmla="*/ 366 w 83636"/>
                <a:gd name="connsiteY21" fmla="*/ 29761 h 79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3636" h="79801">
                  <a:moveTo>
                    <a:pt x="366" y="29761"/>
                  </a:moveTo>
                  <a:cubicBezTo>
                    <a:pt x="1170" y="27231"/>
                    <a:pt x="3335" y="25371"/>
                    <a:pt x="5956" y="24959"/>
                  </a:cubicBezTo>
                  <a:lnTo>
                    <a:pt x="26348" y="22046"/>
                  </a:lnTo>
                  <a:lnTo>
                    <a:pt x="35402" y="3623"/>
                  </a:lnTo>
                  <a:cubicBezTo>
                    <a:pt x="37378" y="144"/>
                    <a:pt x="41795" y="-1074"/>
                    <a:pt x="45275" y="901"/>
                  </a:cubicBezTo>
                  <a:cubicBezTo>
                    <a:pt x="46416" y="1547"/>
                    <a:pt x="47353" y="2487"/>
                    <a:pt x="47999" y="3623"/>
                  </a:cubicBezTo>
                  <a:lnTo>
                    <a:pt x="57132" y="22046"/>
                  </a:lnTo>
                  <a:lnTo>
                    <a:pt x="77444" y="24959"/>
                  </a:lnTo>
                  <a:cubicBezTo>
                    <a:pt x="81271" y="25520"/>
                    <a:pt x="83924" y="29079"/>
                    <a:pt x="83365" y="32908"/>
                  </a:cubicBezTo>
                  <a:cubicBezTo>
                    <a:pt x="83137" y="34438"/>
                    <a:pt x="82412" y="35851"/>
                    <a:pt x="81302" y="36926"/>
                  </a:cubicBezTo>
                  <a:lnTo>
                    <a:pt x="66579" y="51255"/>
                  </a:lnTo>
                  <a:lnTo>
                    <a:pt x="70044" y="71568"/>
                  </a:lnTo>
                  <a:cubicBezTo>
                    <a:pt x="70500" y="74189"/>
                    <a:pt x="69429" y="76843"/>
                    <a:pt x="67288" y="78417"/>
                  </a:cubicBezTo>
                  <a:cubicBezTo>
                    <a:pt x="66083" y="79314"/>
                    <a:pt x="64619" y="79785"/>
                    <a:pt x="63115" y="79756"/>
                  </a:cubicBezTo>
                  <a:cubicBezTo>
                    <a:pt x="61966" y="79765"/>
                    <a:pt x="60832" y="79495"/>
                    <a:pt x="59809" y="78968"/>
                  </a:cubicBezTo>
                  <a:lnTo>
                    <a:pt x="41700" y="69442"/>
                  </a:lnTo>
                  <a:lnTo>
                    <a:pt x="23513" y="78968"/>
                  </a:lnTo>
                  <a:cubicBezTo>
                    <a:pt x="20034" y="80755"/>
                    <a:pt x="15758" y="79380"/>
                    <a:pt x="13971" y="75899"/>
                  </a:cubicBezTo>
                  <a:cubicBezTo>
                    <a:pt x="13286" y="74565"/>
                    <a:pt x="13050" y="73049"/>
                    <a:pt x="13278" y="71568"/>
                  </a:cubicBezTo>
                  <a:lnTo>
                    <a:pt x="16743" y="51255"/>
                  </a:lnTo>
                  <a:lnTo>
                    <a:pt x="2020" y="37635"/>
                  </a:lnTo>
                  <a:cubicBezTo>
                    <a:pt x="-129" y="35620"/>
                    <a:pt x="-791" y="32472"/>
                    <a:pt x="366" y="29761"/>
                  </a:cubicBezTo>
                  <a:close/>
                </a:path>
              </a:pathLst>
            </a:custGeom>
            <a:grpFill/>
            <a:ln w="7844"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grpSp>
      <p:sp>
        <p:nvSpPr>
          <p:cNvPr id="130" name="Rectangle 129">
            <a:extLst>
              <a:ext uri="{FF2B5EF4-FFF2-40B4-BE49-F238E27FC236}">
                <a16:creationId xmlns:a16="http://schemas.microsoft.com/office/drawing/2014/main" id="{D1505931-F577-4B19-9EE5-BB951E2F5980}"/>
              </a:ext>
              <a:ext uri="{C183D7F6-B498-43B3-948B-1728B52AA6E4}">
                <adec:decorative xmlns:adec="http://schemas.microsoft.com/office/drawing/2017/decorative" val="1"/>
              </a:ext>
            </a:extLst>
          </p:cNvPr>
          <p:cNvSpPr/>
          <p:nvPr/>
        </p:nvSpPr>
        <p:spPr>
          <a:xfrm>
            <a:off x="250528" y="5477252"/>
            <a:ext cx="182880" cy="182880"/>
          </a:xfrm>
          <a:prstGeom prst="rect">
            <a:avLst/>
          </a:prstGeom>
          <a:solidFill>
            <a:srgbClr val="818181"/>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33" name="Straight Connector 132">
            <a:extLst>
              <a:ext uri="{FF2B5EF4-FFF2-40B4-BE49-F238E27FC236}">
                <a16:creationId xmlns:a16="http://schemas.microsoft.com/office/drawing/2014/main" id="{9998626A-FD6F-4748-A245-BA17698BE7E4}"/>
              </a:ext>
              <a:ext uri="{C183D7F6-B498-43B3-948B-1728B52AA6E4}">
                <adec:decorative xmlns:adec="http://schemas.microsoft.com/office/drawing/2017/decorative" val="1"/>
              </a:ext>
            </a:extLst>
          </p:cNvPr>
          <p:cNvCxnSpPr>
            <a:cxnSpLocks/>
          </p:cNvCxnSpPr>
          <p:nvPr/>
        </p:nvCxnSpPr>
        <p:spPr>
          <a:xfrm>
            <a:off x="433408" y="3292482"/>
            <a:ext cx="2880063"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34" name="Straight Connector 133">
            <a:extLst>
              <a:ext uri="{FF2B5EF4-FFF2-40B4-BE49-F238E27FC236}">
                <a16:creationId xmlns:a16="http://schemas.microsoft.com/office/drawing/2014/main" id="{11857988-A37A-482E-96B5-ABF455AB19B4}"/>
              </a:ext>
              <a:ext uri="{C183D7F6-B498-43B3-948B-1728B52AA6E4}">
                <adec:decorative xmlns:adec="http://schemas.microsoft.com/office/drawing/2017/decorative" val="1"/>
              </a:ext>
            </a:extLst>
          </p:cNvPr>
          <p:cNvCxnSpPr>
            <a:cxnSpLocks/>
          </p:cNvCxnSpPr>
          <p:nvPr/>
        </p:nvCxnSpPr>
        <p:spPr>
          <a:xfrm>
            <a:off x="433407" y="5672037"/>
            <a:ext cx="2880063"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grpSp>
        <p:nvGrpSpPr>
          <p:cNvPr id="136" name="Group 135">
            <a:extLst>
              <a:ext uri="{FF2B5EF4-FFF2-40B4-BE49-F238E27FC236}">
                <a16:creationId xmlns:a16="http://schemas.microsoft.com/office/drawing/2014/main" id="{64870045-6DCE-421C-92DC-02A7066E9B20}"/>
              </a:ext>
              <a:ext uri="{C183D7F6-B498-43B3-948B-1728B52AA6E4}">
                <adec:decorative xmlns:adec="http://schemas.microsoft.com/office/drawing/2017/decorative" val="1"/>
              </a:ext>
            </a:extLst>
          </p:cNvPr>
          <p:cNvGrpSpPr/>
          <p:nvPr/>
        </p:nvGrpSpPr>
        <p:grpSpPr>
          <a:xfrm>
            <a:off x="246702" y="4114894"/>
            <a:ext cx="384092" cy="395078"/>
            <a:chOff x="-6661297" y="893567"/>
            <a:chExt cx="5824257" cy="5990861"/>
          </a:xfrm>
          <a:solidFill>
            <a:srgbClr val="818181"/>
          </a:solidFill>
        </p:grpSpPr>
        <p:sp>
          <p:nvSpPr>
            <p:cNvPr id="137" name="Freeform: Shape 136">
              <a:extLst>
                <a:ext uri="{FF2B5EF4-FFF2-40B4-BE49-F238E27FC236}">
                  <a16:creationId xmlns:a16="http://schemas.microsoft.com/office/drawing/2014/main" id="{1F08C8AE-F5BD-4F6C-BAF7-BC26C89624A9}"/>
                </a:ext>
              </a:extLst>
            </p:cNvPr>
            <p:cNvSpPr/>
            <p:nvPr/>
          </p:nvSpPr>
          <p:spPr>
            <a:xfrm>
              <a:off x="-5288200" y="2265324"/>
              <a:ext cx="3078063" cy="3212678"/>
            </a:xfrm>
            <a:custGeom>
              <a:avLst/>
              <a:gdLst>
                <a:gd name="connsiteX0" fmla="*/ 2144465 w 3078063"/>
                <a:gd name="connsiteY0" fmla="*/ 3212679 h 3212678"/>
                <a:gd name="connsiteX1" fmla="*/ 2144465 w 3078063"/>
                <a:gd name="connsiteY1" fmla="*/ 2956173 h 3212678"/>
                <a:gd name="connsiteX2" fmla="*/ 3078064 w 3078063"/>
                <a:gd name="connsiteY2" fmla="*/ 1540371 h 3212678"/>
                <a:gd name="connsiteX3" fmla="*/ 1538362 w 3078063"/>
                <a:gd name="connsiteY3" fmla="*/ 0 h 3212678"/>
                <a:gd name="connsiteX4" fmla="*/ 0 w 3078063"/>
                <a:gd name="connsiteY4" fmla="*/ 1540371 h 3212678"/>
                <a:gd name="connsiteX5" fmla="*/ 938957 w 3078063"/>
                <a:gd name="connsiteY5" fmla="*/ 2958182 h 3212678"/>
                <a:gd name="connsiteX6" fmla="*/ 938957 w 3078063"/>
                <a:gd name="connsiteY6" fmla="*/ 3212679 h 3212678"/>
                <a:gd name="connsiteX7" fmla="*/ 2144465 w 3078063"/>
                <a:gd name="connsiteY7" fmla="*/ 3212679 h 321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063" h="3212678">
                  <a:moveTo>
                    <a:pt x="2144465" y="3212679"/>
                  </a:moveTo>
                  <a:lnTo>
                    <a:pt x="2144465" y="2956173"/>
                  </a:lnTo>
                  <a:cubicBezTo>
                    <a:pt x="2693640" y="2720430"/>
                    <a:pt x="3078064" y="2175272"/>
                    <a:pt x="3078064" y="1540371"/>
                  </a:cubicBezTo>
                  <a:cubicBezTo>
                    <a:pt x="3078064" y="689818"/>
                    <a:pt x="2388915" y="0"/>
                    <a:pt x="1538362" y="0"/>
                  </a:cubicBezTo>
                  <a:cubicBezTo>
                    <a:pt x="687809" y="0"/>
                    <a:pt x="0" y="689818"/>
                    <a:pt x="0" y="1540371"/>
                  </a:cubicBezTo>
                  <a:cubicBezTo>
                    <a:pt x="0" y="2177281"/>
                    <a:pt x="383084" y="2723778"/>
                    <a:pt x="938957" y="2958182"/>
                  </a:cubicBezTo>
                  <a:lnTo>
                    <a:pt x="938957" y="3212679"/>
                  </a:lnTo>
                  <a:lnTo>
                    <a:pt x="2144465" y="3212679"/>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38" name="Freeform: Shape 137">
              <a:extLst>
                <a:ext uri="{FF2B5EF4-FFF2-40B4-BE49-F238E27FC236}">
                  <a16:creationId xmlns:a16="http://schemas.microsoft.com/office/drawing/2014/main" id="{50E1EDB0-54CF-412F-A8E4-65F62942179C}"/>
                </a:ext>
              </a:extLst>
            </p:cNvPr>
            <p:cNvSpPr/>
            <p:nvPr/>
          </p:nvSpPr>
          <p:spPr>
            <a:xfrm>
              <a:off x="-3950086" y="893567"/>
              <a:ext cx="401835" cy="935254"/>
            </a:xfrm>
            <a:custGeom>
              <a:avLst/>
              <a:gdLst>
                <a:gd name="connsiteX0" fmla="*/ 0 w 401835"/>
                <a:gd name="connsiteY0" fmla="*/ 201076 h 935254"/>
                <a:gd name="connsiteX1" fmla="*/ 0 w 401835"/>
                <a:gd name="connsiteY1" fmla="*/ 734178 h 935254"/>
                <a:gd name="connsiteX2" fmla="*/ 200918 w 401835"/>
                <a:gd name="connsiteY2" fmla="*/ 935096 h 935254"/>
                <a:gd name="connsiteX3" fmla="*/ 401836 w 401835"/>
                <a:gd name="connsiteY3" fmla="*/ 734178 h 935254"/>
                <a:gd name="connsiteX4" fmla="*/ 401836 w 401835"/>
                <a:gd name="connsiteY4" fmla="*/ 201076 h 935254"/>
                <a:gd name="connsiteX5" fmla="*/ 200918 w 401835"/>
                <a:gd name="connsiteY5" fmla="*/ 158 h 935254"/>
                <a:gd name="connsiteX6" fmla="*/ 0 w 401835"/>
                <a:gd name="connsiteY6" fmla="*/ 201076 h 935254"/>
                <a:gd name="connsiteX7" fmla="*/ 0 w 401835"/>
                <a:gd name="connsiteY7" fmla="*/ 201076 h 9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835" h="935254">
                  <a:moveTo>
                    <a:pt x="0" y="201076"/>
                  </a:moveTo>
                  <a:cubicBezTo>
                    <a:pt x="0" y="378553"/>
                    <a:pt x="0" y="556701"/>
                    <a:pt x="0" y="734178"/>
                  </a:cubicBezTo>
                  <a:cubicBezTo>
                    <a:pt x="0" y="839325"/>
                    <a:pt x="92422" y="939784"/>
                    <a:pt x="200918" y="935096"/>
                  </a:cubicBezTo>
                  <a:cubicBezTo>
                    <a:pt x="310084" y="930408"/>
                    <a:pt x="401836" y="846692"/>
                    <a:pt x="401836" y="734178"/>
                  </a:cubicBezTo>
                  <a:cubicBezTo>
                    <a:pt x="401836" y="556701"/>
                    <a:pt x="401836" y="378553"/>
                    <a:pt x="401836" y="201076"/>
                  </a:cubicBezTo>
                  <a:cubicBezTo>
                    <a:pt x="401836" y="95929"/>
                    <a:pt x="309414" y="-4530"/>
                    <a:pt x="200918" y="158"/>
                  </a:cubicBezTo>
                  <a:cubicBezTo>
                    <a:pt x="91752" y="5516"/>
                    <a:pt x="0" y="88562"/>
                    <a:pt x="0" y="201076"/>
                  </a:cubicBezTo>
                  <a:lnTo>
                    <a:pt x="0" y="201076"/>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39" name="Freeform: Shape 138">
              <a:extLst>
                <a:ext uri="{FF2B5EF4-FFF2-40B4-BE49-F238E27FC236}">
                  <a16:creationId xmlns:a16="http://schemas.microsoft.com/office/drawing/2014/main" id="{5DDF0DDE-93C2-45E8-ABCB-7A841EFE745B}"/>
                </a:ext>
              </a:extLst>
            </p:cNvPr>
            <p:cNvSpPr/>
            <p:nvPr/>
          </p:nvSpPr>
          <p:spPr>
            <a:xfrm>
              <a:off x="-4461246" y="5877830"/>
              <a:ext cx="1424824" cy="401835"/>
            </a:xfrm>
            <a:custGeom>
              <a:avLst/>
              <a:gdLst>
                <a:gd name="connsiteX0" fmla="*/ 201076 w 1424824"/>
                <a:gd name="connsiteY0" fmla="*/ 401836 h 401835"/>
                <a:gd name="connsiteX1" fmla="*/ 1098510 w 1424824"/>
                <a:gd name="connsiteY1" fmla="*/ 401836 h 401835"/>
                <a:gd name="connsiteX2" fmla="*/ 1223748 w 1424824"/>
                <a:gd name="connsiteY2" fmla="*/ 401836 h 401835"/>
                <a:gd name="connsiteX3" fmla="*/ 1424666 w 1424824"/>
                <a:gd name="connsiteY3" fmla="*/ 200918 h 401835"/>
                <a:gd name="connsiteX4" fmla="*/ 1223748 w 1424824"/>
                <a:gd name="connsiteY4" fmla="*/ 0 h 401835"/>
                <a:gd name="connsiteX5" fmla="*/ 326315 w 1424824"/>
                <a:gd name="connsiteY5" fmla="*/ 0 h 401835"/>
                <a:gd name="connsiteX6" fmla="*/ 201076 w 1424824"/>
                <a:gd name="connsiteY6" fmla="*/ 0 h 401835"/>
                <a:gd name="connsiteX7" fmla="*/ 158 w 1424824"/>
                <a:gd name="connsiteY7" fmla="*/ 200918 h 401835"/>
                <a:gd name="connsiteX8" fmla="*/ 201076 w 1424824"/>
                <a:gd name="connsiteY8" fmla="*/ 401836 h 401835"/>
                <a:gd name="connsiteX9" fmla="*/ 201076 w 1424824"/>
                <a:gd name="connsiteY9" fmla="*/ 401836 h 40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4824" h="401835">
                  <a:moveTo>
                    <a:pt x="201076" y="401836"/>
                  </a:moveTo>
                  <a:cubicBezTo>
                    <a:pt x="500444" y="401836"/>
                    <a:pt x="799142" y="401836"/>
                    <a:pt x="1098510" y="401836"/>
                  </a:cubicBezTo>
                  <a:cubicBezTo>
                    <a:pt x="1140033" y="401836"/>
                    <a:pt x="1181556" y="401836"/>
                    <a:pt x="1223748" y="401836"/>
                  </a:cubicBezTo>
                  <a:cubicBezTo>
                    <a:pt x="1328896" y="401836"/>
                    <a:pt x="1429355" y="309414"/>
                    <a:pt x="1424666" y="200918"/>
                  </a:cubicBezTo>
                  <a:cubicBezTo>
                    <a:pt x="1419978" y="91753"/>
                    <a:pt x="1336262" y="0"/>
                    <a:pt x="1223748" y="0"/>
                  </a:cubicBezTo>
                  <a:cubicBezTo>
                    <a:pt x="924381" y="0"/>
                    <a:pt x="625683" y="0"/>
                    <a:pt x="326315" y="0"/>
                  </a:cubicBezTo>
                  <a:cubicBezTo>
                    <a:pt x="284792" y="0"/>
                    <a:pt x="243269" y="0"/>
                    <a:pt x="201076" y="0"/>
                  </a:cubicBezTo>
                  <a:cubicBezTo>
                    <a:pt x="95929" y="0"/>
                    <a:pt x="-4530" y="92422"/>
                    <a:pt x="158" y="200918"/>
                  </a:cubicBezTo>
                  <a:cubicBezTo>
                    <a:pt x="4846" y="309414"/>
                    <a:pt x="87892" y="401836"/>
                    <a:pt x="201076" y="401836"/>
                  </a:cubicBezTo>
                  <a:lnTo>
                    <a:pt x="201076" y="401836"/>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0" name="Freeform: Shape 139">
              <a:extLst>
                <a:ext uri="{FF2B5EF4-FFF2-40B4-BE49-F238E27FC236}">
                  <a16:creationId xmlns:a16="http://schemas.microsoft.com/office/drawing/2014/main" id="{346B72E7-E19D-401E-A911-4338ED1DCBBF}"/>
                </a:ext>
              </a:extLst>
            </p:cNvPr>
            <p:cNvSpPr/>
            <p:nvPr/>
          </p:nvSpPr>
          <p:spPr>
            <a:xfrm>
              <a:off x="-6661297" y="3605447"/>
              <a:ext cx="935254" cy="401836"/>
            </a:xfrm>
            <a:custGeom>
              <a:avLst/>
              <a:gdLst>
                <a:gd name="connsiteX0" fmla="*/ 201076 w 935254"/>
                <a:gd name="connsiteY0" fmla="*/ 401836 h 401836"/>
                <a:gd name="connsiteX1" fmla="*/ 734178 w 935254"/>
                <a:gd name="connsiteY1" fmla="*/ 401836 h 401836"/>
                <a:gd name="connsiteX2" fmla="*/ 935096 w 935254"/>
                <a:gd name="connsiteY2" fmla="*/ 200918 h 401836"/>
                <a:gd name="connsiteX3" fmla="*/ 734178 w 935254"/>
                <a:gd name="connsiteY3" fmla="*/ 0 h 401836"/>
                <a:gd name="connsiteX4" fmla="*/ 201076 w 935254"/>
                <a:gd name="connsiteY4" fmla="*/ 0 h 401836"/>
                <a:gd name="connsiteX5" fmla="*/ 158 w 935254"/>
                <a:gd name="connsiteY5" fmla="*/ 200918 h 401836"/>
                <a:gd name="connsiteX6" fmla="*/ 201076 w 935254"/>
                <a:gd name="connsiteY6" fmla="*/ 401836 h 401836"/>
                <a:gd name="connsiteX7" fmla="*/ 201076 w 935254"/>
                <a:gd name="connsiteY7" fmla="*/ 401836 h 401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254" h="401836">
                  <a:moveTo>
                    <a:pt x="201076" y="401836"/>
                  </a:moveTo>
                  <a:cubicBezTo>
                    <a:pt x="378553" y="401836"/>
                    <a:pt x="556701" y="401836"/>
                    <a:pt x="734178" y="401836"/>
                  </a:cubicBezTo>
                  <a:cubicBezTo>
                    <a:pt x="839325" y="401836"/>
                    <a:pt x="939784" y="309414"/>
                    <a:pt x="935096" y="200918"/>
                  </a:cubicBezTo>
                  <a:cubicBezTo>
                    <a:pt x="930408" y="91753"/>
                    <a:pt x="846692" y="0"/>
                    <a:pt x="734178" y="0"/>
                  </a:cubicBezTo>
                  <a:cubicBezTo>
                    <a:pt x="556701" y="0"/>
                    <a:pt x="378553" y="0"/>
                    <a:pt x="201076" y="0"/>
                  </a:cubicBezTo>
                  <a:cubicBezTo>
                    <a:pt x="95929" y="0"/>
                    <a:pt x="-4530" y="92422"/>
                    <a:pt x="158" y="200918"/>
                  </a:cubicBezTo>
                  <a:cubicBezTo>
                    <a:pt x="4846" y="309414"/>
                    <a:pt x="87892" y="401836"/>
                    <a:pt x="201076" y="401836"/>
                  </a:cubicBezTo>
                  <a:lnTo>
                    <a:pt x="201076" y="401836"/>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1" name="Freeform: Shape 140">
              <a:extLst>
                <a:ext uri="{FF2B5EF4-FFF2-40B4-BE49-F238E27FC236}">
                  <a16:creationId xmlns:a16="http://schemas.microsoft.com/office/drawing/2014/main" id="{D783AF4E-559D-44CE-B271-7012ABDF9EF4}"/>
                </a:ext>
              </a:extLst>
            </p:cNvPr>
            <p:cNvSpPr/>
            <p:nvPr/>
          </p:nvSpPr>
          <p:spPr>
            <a:xfrm>
              <a:off x="-1772294" y="3605447"/>
              <a:ext cx="935254" cy="401836"/>
            </a:xfrm>
            <a:custGeom>
              <a:avLst/>
              <a:gdLst>
                <a:gd name="connsiteX0" fmla="*/ 201076 w 935254"/>
                <a:gd name="connsiteY0" fmla="*/ 401836 h 401836"/>
                <a:gd name="connsiteX1" fmla="*/ 734178 w 935254"/>
                <a:gd name="connsiteY1" fmla="*/ 401836 h 401836"/>
                <a:gd name="connsiteX2" fmla="*/ 935096 w 935254"/>
                <a:gd name="connsiteY2" fmla="*/ 200918 h 401836"/>
                <a:gd name="connsiteX3" fmla="*/ 734178 w 935254"/>
                <a:gd name="connsiteY3" fmla="*/ 0 h 401836"/>
                <a:gd name="connsiteX4" fmla="*/ 201076 w 935254"/>
                <a:gd name="connsiteY4" fmla="*/ 0 h 401836"/>
                <a:gd name="connsiteX5" fmla="*/ 158 w 935254"/>
                <a:gd name="connsiteY5" fmla="*/ 200918 h 401836"/>
                <a:gd name="connsiteX6" fmla="*/ 201076 w 935254"/>
                <a:gd name="connsiteY6" fmla="*/ 401836 h 401836"/>
                <a:gd name="connsiteX7" fmla="*/ 201076 w 935254"/>
                <a:gd name="connsiteY7" fmla="*/ 401836 h 401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254" h="401836">
                  <a:moveTo>
                    <a:pt x="201076" y="401836"/>
                  </a:moveTo>
                  <a:cubicBezTo>
                    <a:pt x="378553" y="401836"/>
                    <a:pt x="556701" y="401836"/>
                    <a:pt x="734178" y="401836"/>
                  </a:cubicBezTo>
                  <a:cubicBezTo>
                    <a:pt x="839325" y="401836"/>
                    <a:pt x="939784" y="309414"/>
                    <a:pt x="935096" y="200918"/>
                  </a:cubicBezTo>
                  <a:cubicBezTo>
                    <a:pt x="930408" y="91753"/>
                    <a:pt x="846692" y="0"/>
                    <a:pt x="734178" y="0"/>
                  </a:cubicBezTo>
                  <a:cubicBezTo>
                    <a:pt x="556701" y="0"/>
                    <a:pt x="378553" y="0"/>
                    <a:pt x="201076" y="0"/>
                  </a:cubicBezTo>
                  <a:cubicBezTo>
                    <a:pt x="95929" y="0"/>
                    <a:pt x="-4530" y="92422"/>
                    <a:pt x="158" y="200918"/>
                  </a:cubicBezTo>
                  <a:cubicBezTo>
                    <a:pt x="4846" y="309414"/>
                    <a:pt x="88562" y="401836"/>
                    <a:pt x="201076" y="401836"/>
                  </a:cubicBezTo>
                  <a:lnTo>
                    <a:pt x="201076" y="401836"/>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2" name="Freeform: Shape 141">
              <a:extLst>
                <a:ext uri="{FF2B5EF4-FFF2-40B4-BE49-F238E27FC236}">
                  <a16:creationId xmlns:a16="http://schemas.microsoft.com/office/drawing/2014/main" id="{6E076BD4-13D1-4632-9AD0-E13C56A16C68}"/>
                </a:ext>
              </a:extLst>
            </p:cNvPr>
            <p:cNvSpPr/>
            <p:nvPr/>
          </p:nvSpPr>
          <p:spPr>
            <a:xfrm>
              <a:off x="-5865857" y="1689175"/>
              <a:ext cx="775834" cy="776582"/>
            </a:xfrm>
            <a:custGeom>
              <a:avLst/>
              <a:gdLst>
                <a:gd name="connsiteX0" fmla="*/ 57279 w 775834"/>
                <a:gd name="connsiteY0" fmla="*/ 341745 h 776582"/>
                <a:gd name="connsiteX1" fmla="*/ 434335 w 775834"/>
                <a:gd name="connsiteY1" fmla="*/ 718802 h 776582"/>
                <a:gd name="connsiteX2" fmla="*/ 718299 w 775834"/>
                <a:gd name="connsiteY2" fmla="*/ 718802 h 776582"/>
                <a:gd name="connsiteX3" fmla="*/ 718299 w 775834"/>
                <a:gd name="connsiteY3" fmla="*/ 434837 h 776582"/>
                <a:gd name="connsiteX4" fmla="*/ 341243 w 775834"/>
                <a:gd name="connsiteY4" fmla="*/ 57781 h 776582"/>
                <a:gd name="connsiteX5" fmla="*/ 57279 w 775834"/>
                <a:gd name="connsiteY5" fmla="*/ 57781 h 776582"/>
                <a:gd name="connsiteX6" fmla="*/ 57279 w 775834"/>
                <a:gd name="connsiteY6" fmla="*/ 341745 h 776582"/>
                <a:gd name="connsiteX7" fmla="*/ 57279 w 775834"/>
                <a:gd name="connsiteY7" fmla="*/ 341745 h 77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5834" h="776582">
                  <a:moveTo>
                    <a:pt x="57279" y="341745"/>
                  </a:moveTo>
                  <a:cubicBezTo>
                    <a:pt x="183188" y="467654"/>
                    <a:pt x="308427" y="592893"/>
                    <a:pt x="434335" y="718802"/>
                  </a:cubicBezTo>
                  <a:cubicBezTo>
                    <a:pt x="508675" y="793141"/>
                    <a:pt x="645299" y="798499"/>
                    <a:pt x="718299" y="718802"/>
                  </a:cubicBezTo>
                  <a:cubicBezTo>
                    <a:pt x="791969" y="638434"/>
                    <a:pt x="797997" y="513865"/>
                    <a:pt x="718299" y="434837"/>
                  </a:cubicBezTo>
                  <a:cubicBezTo>
                    <a:pt x="592391" y="308929"/>
                    <a:pt x="467152" y="183690"/>
                    <a:pt x="341243" y="57781"/>
                  </a:cubicBezTo>
                  <a:cubicBezTo>
                    <a:pt x="266904" y="-16558"/>
                    <a:pt x="130279" y="-21916"/>
                    <a:pt x="57279" y="57781"/>
                  </a:cubicBezTo>
                  <a:cubicBezTo>
                    <a:pt x="-16391" y="138149"/>
                    <a:pt x="-21749" y="262718"/>
                    <a:pt x="57279" y="341745"/>
                  </a:cubicBezTo>
                  <a:lnTo>
                    <a:pt x="57279" y="341745"/>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3" name="Freeform: Shape 142">
              <a:extLst>
                <a:ext uri="{FF2B5EF4-FFF2-40B4-BE49-F238E27FC236}">
                  <a16:creationId xmlns:a16="http://schemas.microsoft.com/office/drawing/2014/main" id="{FE02C2A4-3037-489F-A01D-FB7B64F9EC92}"/>
                </a:ext>
              </a:extLst>
            </p:cNvPr>
            <p:cNvSpPr/>
            <p:nvPr/>
          </p:nvSpPr>
          <p:spPr>
            <a:xfrm>
              <a:off x="-2408728" y="5146973"/>
              <a:ext cx="775834" cy="776582"/>
            </a:xfrm>
            <a:custGeom>
              <a:avLst/>
              <a:gdLst>
                <a:gd name="connsiteX0" fmla="*/ 57279 w 775834"/>
                <a:gd name="connsiteY0" fmla="*/ 341745 h 776582"/>
                <a:gd name="connsiteX1" fmla="*/ 434335 w 775834"/>
                <a:gd name="connsiteY1" fmla="*/ 718802 h 776582"/>
                <a:gd name="connsiteX2" fmla="*/ 718299 w 775834"/>
                <a:gd name="connsiteY2" fmla="*/ 718802 h 776582"/>
                <a:gd name="connsiteX3" fmla="*/ 718299 w 775834"/>
                <a:gd name="connsiteY3" fmla="*/ 434838 h 776582"/>
                <a:gd name="connsiteX4" fmla="*/ 341243 w 775834"/>
                <a:gd name="connsiteY4" fmla="*/ 57782 h 776582"/>
                <a:gd name="connsiteX5" fmla="*/ 57279 w 775834"/>
                <a:gd name="connsiteY5" fmla="*/ 57782 h 776582"/>
                <a:gd name="connsiteX6" fmla="*/ 57279 w 775834"/>
                <a:gd name="connsiteY6" fmla="*/ 341745 h 776582"/>
                <a:gd name="connsiteX7" fmla="*/ 57279 w 775834"/>
                <a:gd name="connsiteY7" fmla="*/ 341745 h 77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5834" h="776582">
                  <a:moveTo>
                    <a:pt x="57279" y="341745"/>
                  </a:moveTo>
                  <a:cubicBezTo>
                    <a:pt x="183188" y="467654"/>
                    <a:pt x="308427" y="592893"/>
                    <a:pt x="434335" y="718802"/>
                  </a:cubicBezTo>
                  <a:cubicBezTo>
                    <a:pt x="508675" y="793141"/>
                    <a:pt x="645299" y="798499"/>
                    <a:pt x="718299" y="718802"/>
                  </a:cubicBezTo>
                  <a:cubicBezTo>
                    <a:pt x="791969" y="638435"/>
                    <a:pt x="797997" y="513865"/>
                    <a:pt x="718299" y="434838"/>
                  </a:cubicBezTo>
                  <a:cubicBezTo>
                    <a:pt x="592391" y="308929"/>
                    <a:pt x="467152" y="183690"/>
                    <a:pt x="341243" y="57782"/>
                  </a:cubicBezTo>
                  <a:cubicBezTo>
                    <a:pt x="266904" y="-16558"/>
                    <a:pt x="130280" y="-21916"/>
                    <a:pt x="57279" y="57782"/>
                  </a:cubicBezTo>
                  <a:cubicBezTo>
                    <a:pt x="-16391" y="137479"/>
                    <a:pt x="-21748" y="262048"/>
                    <a:pt x="57279" y="341745"/>
                  </a:cubicBezTo>
                  <a:lnTo>
                    <a:pt x="57279" y="341745"/>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4" name="Freeform: Shape 143">
              <a:extLst>
                <a:ext uri="{FF2B5EF4-FFF2-40B4-BE49-F238E27FC236}">
                  <a16:creationId xmlns:a16="http://schemas.microsoft.com/office/drawing/2014/main" id="{D590C621-3DA6-472C-85EA-2A616F3A38F4}"/>
                </a:ext>
              </a:extLst>
            </p:cNvPr>
            <p:cNvSpPr/>
            <p:nvPr/>
          </p:nvSpPr>
          <p:spPr>
            <a:xfrm>
              <a:off x="-2409230" y="1689421"/>
              <a:ext cx="776582" cy="776090"/>
            </a:xfrm>
            <a:custGeom>
              <a:avLst/>
              <a:gdLst>
                <a:gd name="connsiteX0" fmla="*/ 434837 w 776582"/>
                <a:gd name="connsiteY0" fmla="*/ 57535 h 776090"/>
                <a:gd name="connsiteX1" fmla="*/ 57781 w 776582"/>
                <a:gd name="connsiteY1" fmla="*/ 434591 h 776090"/>
                <a:gd name="connsiteX2" fmla="*/ 57781 w 776582"/>
                <a:gd name="connsiteY2" fmla="*/ 718555 h 776090"/>
                <a:gd name="connsiteX3" fmla="*/ 341745 w 776582"/>
                <a:gd name="connsiteY3" fmla="*/ 718555 h 776090"/>
                <a:gd name="connsiteX4" fmla="*/ 718801 w 776582"/>
                <a:gd name="connsiteY4" fmla="*/ 341499 h 776090"/>
                <a:gd name="connsiteX5" fmla="*/ 718801 w 776582"/>
                <a:gd name="connsiteY5" fmla="*/ 57535 h 776090"/>
                <a:gd name="connsiteX6" fmla="*/ 434837 w 776582"/>
                <a:gd name="connsiteY6" fmla="*/ 57535 h 776090"/>
                <a:gd name="connsiteX7" fmla="*/ 434837 w 776582"/>
                <a:gd name="connsiteY7" fmla="*/ 57535 h 776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582" h="776090">
                  <a:moveTo>
                    <a:pt x="434837" y="57535"/>
                  </a:moveTo>
                  <a:cubicBezTo>
                    <a:pt x="308929" y="183444"/>
                    <a:pt x="183690" y="308682"/>
                    <a:pt x="57781" y="434591"/>
                  </a:cubicBezTo>
                  <a:cubicBezTo>
                    <a:pt x="-16558" y="508931"/>
                    <a:pt x="-21916" y="645555"/>
                    <a:pt x="57781" y="718555"/>
                  </a:cubicBezTo>
                  <a:cubicBezTo>
                    <a:pt x="138148" y="792225"/>
                    <a:pt x="262718" y="798253"/>
                    <a:pt x="341745" y="718555"/>
                  </a:cubicBezTo>
                  <a:cubicBezTo>
                    <a:pt x="467654" y="592646"/>
                    <a:pt x="592893" y="467408"/>
                    <a:pt x="718801" y="341499"/>
                  </a:cubicBezTo>
                  <a:cubicBezTo>
                    <a:pt x="793141" y="267159"/>
                    <a:pt x="798499" y="130535"/>
                    <a:pt x="718801" y="57535"/>
                  </a:cubicBezTo>
                  <a:cubicBezTo>
                    <a:pt x="639104" y="-16135"/>
                    <a:pt x="514535" y="-22162"/>
                    <a:pt x="434837" y="57535"/>
                  </a:cubicBezTo>
                  <a:lnTo>
                    <a:pt x="434837" y="57535"/>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5" name="Freeform: Shape 144">
              <a:extLst>
                <a:ext uri="{FF2B5EF4-FFF2-40B4-BE49-F238E27FC236}">
                  <a16:creationId xmlns:a16="http://schemas.microsoft.com/office/drawing/2014/main" id="{19056154-34EB-4493-9BD0-1E252B41A7B2}"/>
                </a:ext>
              </a:extLst>
            </p:cNvPr>
            <p:cNvSpPr/>
            <p:nvPr/>
          </p:nvSpPr>
          <p:spPr>
            <a:xfrm>
              <a:off x="-5866359" y="5146805"/>
              <a:ext cx="776582" cy="775834"/>
            </a:xfrm>
            <a:custGeom>
              <a:avLst/>
              <a:gdLst>
                <a:gd name="connsiteX0" fmla="*/ 434837 w 776582"/>
                <a:gd name="connsiteY0" fmla="*/ 57279 h 775834"/>
                <a:gd name="connsiteX1" fmla="*/ 57781 w 776582"/>
                <a:gd name="connsiteY1" fmla="*/ 434336 h 775834"/>
                <a:gd name="connsiteX2" fmla="*/ 57781 w 776582"/>
                <a:gd name="connsiteY2" fmla="*/ 718299 h 775834"/>
                <a:gd name="connsiteX3" fmla="*/ 341745 w 776582"/>
                <a:gd name="connsiteY3" fmla="*/ 718299 h 775834"/>
                <a:gd name="connsiteX4" fmla="*/ 718801 w 776582"/>
                <a:gd name="connsiteY4" fmla="*/ 341243 h 775834"/>
                <a:gd name="connsiteX5" fmla="*/ 718801 w 776582"/>
                <a:gd name="connsiteY5" fmla="*/ 57279 h 775834"/>
                <a:gd name="connsiteX6" fmla="*/ 434837 w 776582"/>
                <a:gd name="connsiteY6" fmla="*/ 57279 h 775834"/>
                <a:gd name="connsiteX7" fmla="*/ 434837 w 776582"/>
                <a:gd name="connsiteY7" fmla="*/ 57279 h 77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582" h="775834">
                  <a:moveTo>
                    <a:pt x="434837" y="57279"/>
                  </a:moveTo>
                  <a:cubicBezTo>
                    <a:pt x="308929" y="183188"/>
                    <a:pt x="183690" y="308427"/>
                    <a:pt x="57781" y="434336"/>
                  </a:cubicBezTo>
                  <a:cubicBezTo>
                    <a:pt x="-16558" y="508675"/>
                    <a:pt x="-21916" y="645299"/>
                    <a:pt x="57781" y="718299"/>
                  </a:cubicBezTo>
                  <a:cubicBezTo>
                    <a:pt x="138149" y="791969"/>
                    <a:pt x="262718" y="797997"/>
                    <a:pt x="341745" y="718299"/>
                  </a:cubicBezTo>
                  <a:cubicBezTo>
                    <a:pt x="467654" y="592391"/>
                    <a:pt x="592893" y="467152"/>
                    <a:pt x="718801" y="341243"/>
                  </a:cubicBezTo>
                  <a:cubicBezTo>
                    <a:pt x="793141" y="266904"/>
                    <a:pt x="798499" y="130280"/>
                    <a:pt x="718801" y="57279"/>
                  </a:cubicBezTo>
                  <a:cubicBezTo>
                    <a:pt x="639104" y="-16391"/>
                    <a:pt x="514535" y="-21748"/>
                    <a:pt x="434837" y="57279"/>
                  </a:cubicBezTo>
                  <a:lnTo>
                    <a:pt x="434837" y="57279"/>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6" name="Freeform: Shape 145">
              <a:extLst>
                <a:ext uri="{FF2B5EF4-FFF2-40B4-BE49-F238E27FC236}">
                  <a16:creationId xmlns:a16="http://schemas.microsoft.com/office/drawing/2014/main" id="{1D7BB991-3378-4794-A15F-D9E38AC3FFAC}"/>
                </a:ext>
              </a:extLst>
            </p:cNvPr>
            <p:cNvSpPr/>
            <p:nvPr/>
          </p:nvSpPr>
          <p:spPr>
            <a:xfrm>
              <a:off x="-4280420" y="6482593"/>
              <a:ext cx="1062502" cy="401835"/>
            </a:xfrm>
            <a:custGeom>
              <a:avLst/>
              <a:gdLst>
                <a:gd name="connsiteX0" fmla="*/ 201076 w 1062502"/>
                <a:gd name="connsiteY0" fmla="*/ 401836 h 401835"/>
                <a:gd name="connsiteX1" fmla="*/ 777711 w 1062502"/>
                <a:gd name="connsiteY1" fmla="*/ 401836 h 401835"/>
                <a:gd name="connsiteX2" fmla="*/ 861427 w 1062502"/>
                <a:gd name="connsiteY2" fmla="*/ 401836 h 401835"/>
                <a:gd name="connsiteX3" fmla="*/ 1062345 w 1062502"/>
                <a:gd name="connsiteY3" fmla="*/ 200918 h 401835"/>
                <a:gd name="connsiteX4" fmla="*/ 861427 w 1062502"/>
                <a:gd name="connsiteY4" fmla="*/ 0 h 401835"/>
                <a:gd name="connsiteX5" fmla="*/ 284792 w 1062502"/>
                <a:gd name="connsiteY5" fmla="*/ 0 h 401835"/>
                <a:gd name="connsiteX6" fmla="*/ 201076 w 1062502"/>
                <a:gd name="connsiteY6" fmla="*/ 0 h 401835"/>
                <a:gd name="connsiteX7" fmla="*/ 158 w 1062502"/>
                <a:gd name="connsiteY7" fmla="*/ 200918 h 401835"/>
                <a:gd name="connsiteX8" fmla="*/ 201076 w 1062502"/>
                <a:gd name="connsiteY8" fmla="*/ 401836 h 401835"/>
                <a:gd name="connsiteX9" fmla="*/ 201076 w 1062502"/>
                <a:gd name="connsiteY9" fmla="*/ 401836 h 40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502" h="401835">
                  <a:moveTo>
                    <a:pt x="201076" y="401836"/>
                  </a:moveTo>
                  <a:cubicBezTo>
                    <a:pt x="393287" y="401836"/>
                    <a:pt x="585499" y="401836"/>
                    <a:pt x="777711" y="401836"/>
                  </a:cubicBezTo>
                  <a:cubicBezTo>
                    <a:pt x="805839" y="401836"/>
                    <a:pt x="833967" y="401836"/>
                    <a:pt x="861427" y="401836"/>
                  </a:cubicBezTo>
                  <a:cubicBezTo>
                    <a:pt x="966573" y="401836"/>
                    <a:pt x="1067032" y="309414"/>
                    <a:pt x="1062345" y="200918"/>
                  </a:cubicBezTo>
                  <a:cubicBezTo>
                    <a:pt x="1057656" y="91753"/>
                    <a:pt x="973941" y="0"/>
                    <a:pt x="861427" y="0"/>
                  </a:cubicBezTo>
                  <a:cubicBezTo>
                    <a:pt x="669215" y="0"/>
                    <a:pt x="477003" y="0"/>
                    <a:pt x="284792" y="0"/>
                  </a:cubicBezTo>
                  <a:cubicBezTo>
                    <a:pt x="256663" y="0"/>
                    <a:pt x="228535" y="0"/>
                    <a:pt x="201076" y="0"/>
                  </a:cubicBezTo>
                  <a:cubicBezTo>
                    <a:pt x="95929" y="0"/>
                    <a:pt x="-4530" y="92422"/>
                    <a:pt x="158" y="200918"/>
                  </a:cubicBezTo>
                  <a:cubicBezTo>
                    <a:pt x="4846" y="310083"/>
                    <a:pt x="88562" y="401836"/>
                    <a:pt x="201076" y="401836"/>
                  </a:cubicBezTo>
                  <a:lnTo>
                    <a:pt x="201076" y="401836"/>
                  </a:lnTo>
                  <a:close/>
                </a:path>
              </a:pathLst>
            </a:custGeom>
            <a:grpFill/>
            <a:ln w="669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grpSp>
      <p:grpSp>
        <p:nvGrpSpPr>
          <p:cNvPr id="147" name="Group 146">
            <a:extLst>
              <a:ext uri="{FF2B5EF4-FFF2-40B4-BE49-F238E27FC236}">
                <a16:creationId xmlns:a16="http://schemas.microsoft.com/office/drawing/2014/main" id="{C1940CDB-DBA7-4193-BAE0-73582284AA69}"/>
              </a:ext>
              <a:ext uri="{C183D7F6-B498-43B3-948B-1728B52AA6E4}">
                <adec:decorative xmlns:adec="http://schemas.microsoft.com/office/drawing/2017/decorative" val="1"/>
              </a:ext>
            </a:extLst>
          </p:cNvPr>
          <p:cNvGrpSpPr/>
          <p:nvPr/>
        </p:nvGrpSpPr>
        <p:grpSpPr>
          <a:xfrm>
            <a:off x="246702" y="3449827"/>
            <a:ext cx="374357" cy="381297"/>
            <a:chOff x="257403" y="3798302"/>
            <a:chExt cx="374357" cy="381297"/>
          </a:xfrm>
          <a:solidFill>
            <a:srgbClr val="818181"/>
          </a:solidFill>
        </p:grpSpPr>
        <p:sp>
          <p:nvSpPr>
            <p:cNvPr id="148" name="Freeform: Shape 147">
              <a:extLst>
                <a:ext uri="{FF2B5EF4-FFF2-40B4-BE49-F238E27FC236}">
                  <a16:creationId xmlns:a16="http://schemas.microsoft.com/office/drawing/2014/main" id="{4FAE7FF7-45A5-4F3E-A340-BF5CFCD25466}"/>
                </a:ext>
              </a:extLst>
            </p:cNvPr>
            <p:cNvSpPr/>
            <p:nvPr/>
          </p:nvSpPr>
          <p:spPr>
            <a:xfrm>
              <a:off x="496545" y="3798302"/>
              <a:ext cx="81832" cy="79007"/>
            </a:xfrm>
            <a:custGeom>
              <a:avLst/>
              <a:gdLst>
                <a:gd name="connsiteX0" fmla="*/ 43472 w 81832"/>
                <a:gd name="connsiteY0" fmla="*/ 1344 h 79007"/>
                <a:gd name="connsiteX1" fmla="*/ 41610 w 81832"/>
                <a:gd name="connsiteY1" fmla="*/ 14 h 79007"/>
                <a:gd name="connsiteX2" fmla="*/ 39748 w 81832"/>
                <a:gd name="connsiteY2" fmla="*/ 1344 h 79007"/>
                <a:gd name="connsiteX3" fmla="*/ 30438 w 81832"/>
                <a:gd name="connsiteY3" fmla="*/ 26081 h 79007"/>
                <a:gd name="connsiteX4" fmla="*/ 28709 w 81832"/>
                <a:gd name="connsiteY4" fmla="*/ 27411 h 79007"/>
                <a:gd name="connsiteX5" fmla="*/ 2110 w 81832"/>
                <a:gd name="connsiteY5" fmla="*/ 28741 h 79007"/>
                <a:gd name="connsiteX6" fmla="*/ 382 w 81832"/>
                <a:gd name="connsiteY6" fmla="*/ 30070 h 79007"/>
                <a:gd name="connsiteX7" fmla="*/ 382 w 81832"/>
                <a:gd name="connsiteY7" fmla="*/ 32198 h 79007"/>
                <a:gd name="connsiteX8" fmla="*/ 21129 w 81832"/>
                <a:gd name="connsiteY8" fmla="*/ 48823 h 79007"/>
                <a:gd name="connsiteX9" fmla="*/ 21794 w 81832"/>
                <a:gd name="connsiteY9" fmla="*/ 50818 h 79007"/>
                <a:gd name="connsiteX10" fmla="*/ 14878 w 81832"/>
                <a:gd name="connsiteY10" fmla="*/ 76485 h 79007"/>
                <a:gd name="connsiteX11" fmla="*/ 15543 w 81832"/>
                <a:gd name="connsiteY11" fmla="*/ 78613 h 79007"/>
                <a:gd name="connsiteX12" fmla="*/ 17804 w 81832"/>
                <a:gd name="connsiteY12" fmla="*/ 78613 h 79007"/>
                <a:gd name="connsiteX13" fmla="*/ 40014 w 81832"/>
                <a:gd name="connsiteY13" fmla="*/ 64117 h 79007"/>
                <a:gd name="connsiteX14" fmla="*/ 42142 w 81832"/>
                <a:gd name="connsiteY14" fmla="*/ 64117 h 79007"/>
                <a:gd name="connsiteX15" fmla="*/ 64485 w 81832"/>
                <a:gd name="connsiteY15" fmla="*/ 78613 h 79007"/>
                <a:gd name="connsiteX16" fmla="*/ 66613 w 81832"/>
                <a:gd name="connsiteY16" fmla="*/ 78613 h 79007"/>
                <a:gd name="connsiteX17" fmla="*/ 67411 w 81832"/>
                <a:gd name="connsiteY17" fmla="*/ 76485 h 79007"/>
                <a:gd name="connsiteX18" fmla="*/ 60495 w 81832"/>
                <a:gd name="connsiteY18" fmla="*/ 50818 h 79007"/>
                <a:gd name="connsiteX19" fmla="*/ 60495 w 81832"/>
                <a:gd name="connsiteY19" fmla="*/ 48823 h 79007"/>
                <a:gd name="connsiteX20" fmla="*/ 81109 w 81832"/>
                <a:gd name="connsiteY20" fmla="*/ 32198 h 79007"/>
                <a:gd name="connsiteX21" fmla="*/ 81774 w 81832"/>
                <a:gd name="connsiteY21" fmla="*/ 30070 h 79007"/>
                <a:gd name="connsiteX22" fmla="*/ 80045 w 81832"/>
                <a:gd name="connsiteY22" fmla="*/ 28741 h 79007"/>
                <a:gd name="connsiteX23" fmla="*/ 53446 w 81832"/>
                <a:gd name="connsiteY23" fmla="*/ 27411 h 79007"/>
                <a:gd name="connsiteX24" fmla="*/ 51717 w 81832"/>
                <a:gd name="connsiteY24" fmla="*/ 26081 h 79007"/>
                <a:gd name="connsiteX25" fmla="*/ 43472 w 81832"/>
                <a:gd name="connsiteY25" fmla="*/ 1344 h 79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832" h="79007">
                  <a:moveTo>
                    <a:pt x="43472" y="1344"/>
                  </a:moveTo>
                  <a:cubicBezTo>
                    <a:pt x="43228" y="526"/>
                    <a:pt x="42462" y="-22"/>
                    <a:pt x="41610" y="14"/>
                  </a:cubicBezTo>
                  <a:cubicBezTo>
                    <a:pt x="40784" y="58"/>
                    <a:pt x="40058" y="576"/>
                    <a:pt x="39748" y="1344"/>
                  </a:cubicBezTo>
                  <a:lnTo>
                    <a:pt x="30438" y="26081"/>
                  </a:lnTo>
                  <a:cubicBezTo>
                    <a:pt x="30209" y="26851"/>
                    <a:pt x="29513" y="27387"/>
                    <a:pt x="28709" y="27411"/>
                  </a:cubicBezTo>
                  <a:lnTo>
                    <a:pt x="2110" y="28741"/>
                  </a:lnTo>
                  <a:cubicBezTo>
                    <a:pt x="1307" y="28764"/>
                    <a:pt x="610" y="29301"/>
                    <a:pt x="382" y="30070"/>
                  </a:cubicBezTo>
                  <a:cubicBezTo>
                    <a:pt x="-64" y="30710"/>
                    <a:pt x="-64" y="31559"/>
                    <a:pt x="382" y="32198"/>
                  </a:cubicBezTo>
                  <a:lnTo>
                    <a:pt x="21129" y="48823"/>
                  </a:lnTo>
                  <a:cubicBezTo>
                    <a:pt x="21776" y="49261"/>
                    <a:pt x="22048" y="50079"/>
                    <a:pt x="21794" y="50818"/>
                  </a:cubicBezTo>
                  <a:lnTo>
                    <a:pt x="14878" y="76485"/>
                  </a:lnTo>
                  <a:cubicBezTo>
                    <a:pt x="14604" y="77264"/>
                    <a:pt x="14874" y="78130"/>
                    <a:pt x="15543" y="78613"/>
                  </a:cubicBezTo>
                  <a:cubicBezTo>
                    <a:pt x="16224" y="79082"/>
                    <a:pt x="17123" y="79082"/>
                    <a:pt x="17804" y="78613"/>
                  </a:cubicBezTo>
                  <a:lnTo>
                    <a:pt x="40014" y="64117"/>
                  </a:lnTo>
                  <a:cubicBezTo>
                    <a:pt x="40664" y="63707"/>
                    <a:pt x="41491" y="63707"/>
                    <a:pt x="42142" y="64117"/>
                  </a:cubicBezTo>
                  <a:lnTo>
                    <a:pt x="64485" y="78613"/>
                  </a:lnTo>
                  <a:cubicBezTo>
                    <a:pt x="65091" y="79155"/>
                    <a:pt x="66006" y="79155"/>
                    <a:pt x="66613" y="78613"/>
                  </a:cubicBezTo>
                  <a:cubicBezTo>
                    <a:pt x="67296" y="78140"/>
                    <a:pt x="67614" y="77292"/>
                    <a:pt x="67411" y="76485"/>
                  </a:cubicBezTo>
                  <a:lnTo>
                    <a:pt x="60495" y="50818"/>
                  </a:lnTo>
                  <a:cubicBezTo>
                    <a:pt x="60072" y="50220"/>
                    <a:pt x="60072" y="49421"/>
                    <a:pt x="60495" y="48823"/>
                  </a:cubicBezTo>
                  <a:lnTo>
                    <a:pt x="81109" y="32198"/>
                  </a:lnTo>
                  <a:cubicBezTo>
                    <a:pt x="81778" y="31715"/>
                    <a:pt x="82048" y="30849"/>
                    <a:pt x="81774" y="30070"/>
                  </a:cubicBezTo>
                  <a:cubicBezTo>
                    <a:pt x="81545" y="29301"/>
                    <a:pt x="80848" y="28764"/>
                    <a:pt x="80045" y="28741"/>
                  </a:cubicBezTo>
                  <a:lnTo>
                    <a:pt x="53446" y="27411"/>
                  </a:lnTo>
                  <a:cubicBezTo>
                    <a:pt x="52643" y="27387"/>
                    <a:pt x="51946" y="26851"/>
                    <a:pt x="51717" y="26081"/>
                  </a:cubicBezTo>
                  <a:lnTo>
                    <a:pt x="43472" y="1344"/>
                  </a:ln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49" name="Freeform: Shape 148">
              <a:extLst>
                <a:ext uri="{FF2B5EF4-FFF2-40B4-BE49-F238E27FC236}">
                  <a16:creationId xmlns:a16="http://schemas.microsoft.com/office/drawing/2014/main" id="{73CD2FF5-7BC9-4C6E-AD67-27C285BF089B}"/>
                </a:ext>
              </a:extLst>
            </p:cNvPr>
            <p:cNvSpPr/>
            <p:nvPr/>
          </p:nvSpPr>
          <p:spPr>
            <a:xfrm>
              <a:off x="308985" y="3798302"/>
              <a:ext cx="79837" cy="78983"/>
            </a:xfrm>
            <a:custGeom>
              <a:avLst/>
              <a:gdLst>
                <a:gd name="connsiteX0" fmla="*/ 43243 w 79837"/>
                <a:gd name="connsiteY0" fmla="*/ 1344 h 78983"/>
                <a:gd name="connsiteX1" fmla="*/ 41514 w 79837"/>
                <a:gd name="connsiteY1" fmla="*/ 14 h 78983"/>
                <a:gd name="connsiteX2" fmla="*/ 39653 w 79837"/>
                <a:gd name="connsiteY2" fmla="*/ 1344 h 78983"/>
                <a:gd name="connsiteX3" fmla="*/ 30210 w 79837"/>
                <a:gd name="connsiteY3" fmla="*/ 26081 h 78983"/>
                <a:gd name="connsiteX4" fmla="*/ 28481 w 79837"/>
                <a:gd name="connsiteY4" fmla="*/ 27411 h 78983"/>
                <a:gd name="connsiteX5" fmla="*/ 1882 w 79837"/>
                <a:gd name="connsiteY5" fmla="*/ 28741 h 78983"/>
                <a:gd name="connsiteX6" fmla="*/ 153 w 79837"/>
                <a:gd name="connsiteY6" fmla="*/ 30070 h 78983"/>
                <a:gd name="connsiteX7" fmla="*/ 818 w 79837"/>
                <a:gd name="connsiteY7" fmla="*/ 32198 h 78983"/>
                <a:gd name="connsiteX8" fmla="*/ 21565 w 79837"/>
                <a:gd name="connsiteY8" fmla="*/ 48823 h 78983"/>
                <a:gd name="connsiteX9" fmla="*/ 21565 w 79837"/>
                <a:gd name="connsiteY9" fmla="*/ 50818 h 78983"/>
                <a:gd name="connsiteX10" fmla="*/ 14650 w 79837"/>
                <a:gd name="connsiteY10" fmla="*/ 76485 h 78983"/>
                <a:gd name="connsiteX11" fmla="*/ 14650 w 79837"/>
                <a:gd name="connsiteY11" fmla="*/ 78613 h 78983"/>
                <a:gd name="connsiteX12" fmla="*/ 16911 w 79837"/>
                <a:gd name="connsiteY12" fmla="*/ 78613 h 78983"/>
                <a:gd name="connsiteX13" fmla="*/ 39121 w 79837"/>
                <a:gd name="connsiteY13" fmla="*/ 64117 h 78983"/>
                <a:gd name="connsiteX14" fmla="*/ 41382 w 79837"/>
                <a:gd name="connsiteY14" fmla="*/ 64117 h 78983"/>
                <a:gd name="connsiteX15" fmla="*/ 63592 w 79837"/>
                <a:gd name="connsiteY15" fmla="*/ 78613 h 78983"/>
                <a:gd name="connsiteX16" fmla="*/ 65852 w 79837"/>
                <a:gd name="connsiteY16" fmla="*/ 78613 h 78983"/>
                <a:gd name="connsiteX17" fmla="*/ 65852 w 79837"/>
                <a:gd name="connsiteY17" fmla="*/ 76485 h 78983"/>
                <a:gd name="connsiteX18" fmla="*/ 58937 w 79837"/>
                <a:gd name="connsiteY18" fmla="*/ 50818 h 78983"/>
                <a:gd name="connsiteX19" fmla="*/ 58937 w 79837"/>
                <a:gd name="connsiteY19" fmla="*/ 48823 h 78983"/>
                <a:gd name="connsiteX20" fmla="*/ 79551 w 79837"/>
                <a:gd name="connsiteY20" fmla="*/ 32198 h 78983"/>
                <a:gd name="connsiteX21" fmla="*/ 79551 w 79837"/>
                <a:gd name="connsiteY21" fmla="*/ 30070 h 78983"/>
                <a:gd name="connsiteX22" fmla="*/ 77822 w 79837"/>
                <a:gd name="connsiteY22" fmla="*/ 28741 h 78983"/>
                <a:gd name="connsiteX23" fmla="*/ 51223 w 79837"/>
                <a:gd name="connsiteY23" fmla="*/ 27411 h 78983"/>
                <a:gd name="connsiteX24" fmla="*/ 49494 w 79837"/>
                <a:gd name="connsiteY24" fmla="*/ 26081 h 78983"/>
                <a:gd name="connsiteX25" fmla="*/ 43243 w 79837"/>
                <a:gd name="connsiteY25" fmla="*/ 1344 h 78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837" h="78983">
                  <a:moveTo>
                    <a:pt x="43243" y="1344"/>
                  </a:moveTo>
                  <a:cubicBezTo>
                    <a:pt x="43015" y="574"/>
                    <a:pt x="42318" y="38"/>
                    <a:pt x="41514" y="14"/>
                  </a:cubicBezTo>
                  <a:cubicBezTo>
                    <a:pt x="40662" y="-22"/>
                    <a:pt x="39896" y="526"/>
                    <a:pt x="39653" y="1344"/>
                  </a:cubicBezTo>
                  <a:lnTo>
                    <a:pt x="30210" y="26081"/>
                  </a:lnTo>
                  <a:cubicBezTo>
                    <a:pt x="29981" y="26851"/>
                    <a:pt x="29284" y="27387"/>
                    <a:pt x="28481" y="27411"/>
                  </a:cubicBezTo>
                  <a:lnTo>
                    <a:pt x="1882" y="28741"/>
                  </a:lnTo>
                  <a:cubicBezTo>
                    <a:pt x="1079" y="28764"/>
                    <a:pt x="382" y="29301"/>
                    <a:pt x="153" y="30070"/>
                  </a:cubicBezTo>
                  <a:cubicBezTo>
                    <a:pt x="-121" y="30849"/>
                    <a:pt x="149" y="31715"/>
                    <a:pt x="818" y="32198"/>
                  </a:cubicBezTo>
                  <a:lnTo>
                    <a:pt x="21565" y="48823"/>
                  </a:lnTo>
                  <a:cubicBezTo>
                    <a:pt x="21951" y="49431"/>
                    <a:pt x="21951" y="50209"/>
                    <a:pt x="21565" y="50818"/>
                  </a:cubicBezTo>
                  <a:lnTo>
                    <a:pt x="14650" y="76485"/>
                  </a:lnTo>
                  <a:cubicBezTo>
                    <a:pt x="14269" y="77144"/>
                    <a:pt x="14269" y="77955"/>
                    <a:pt x="14650" y="78613"/>
                  </a:cubicBezTo>
                  <a:cubicBezTo>
                    <a:pt x="15331" y="79082"/>
                    <a:pt x="16230" y="79082"/>
                    <a:pt x="16911" y="78613"/>
                  </a:cubicBezTo>
                  <a:lnTo>
                    <a:pt x="39121" y="64117"/>
                  </a:lnTo>
                  <a:cubicBezTo>
                    <a:pt x="39820" y="63713"/>
                    <a:pt x="40682" y="63713"/>
                    <a:pt x="41382" y="64117"/>
                  </a:cubicBezTo>
                  <a:lnTo>
                    <a:pt x="63592" y="78613"/>
                  </a:lnTo>
                  <a:cubicBezTo>
                    <a:pt x="64259" y="79123"/>
                    <a:pt x="65185" y="79123"/>
                    <a:pt x="65852" y="78613"/>
                  </a:cubicBezTo>
                  <a:cubicBezTo>
                    <a:pt x="66298" y="77974"/>
                    <a:pt x="66298" y="77125"/>
                    <a:pt x="65852" y="76485"/>
                  </a:cubicBezTo>
                  <a:lnTo>
                    <a:pt x="58937" y="50818"/>
                  </a:lnTo>
                  <a:cubicBezTo>
                    <a:pt x="58514" y="50220"/>
                    <a:pt x="58514" y="49421"/>
                    <a:pt x="58937" y="48823"/>
                  </a:cubicBezTo>
                  <a:lnTo>
                    <a:pt x="79551" y="32198"/>
                  </a:lnTo>
                  <a:cubicBezTo>
                    <a:pt x="79996" y="31559"/>
                    <a:pt x="79996" y="30710"/>
                    <a:pt x="79551" y="30070"/>
                  </a:cubicBezTo>
                  <a:cubicBezTo>
                    <a:pt x="79362" y="29274"/>
                    <a:pt x="78640" y="28718"/>
                    <a:pt x="77822" y="28741"/>
                  </a:cubicBezTo>
                  <a:lnTo>
                    <a:pt x="51223" y="27411"/>
                  </a:lnTo>
                  <a:cubicBezTo>
                    <a:pt x="50434" y="27349"/>
                    <a:pt x="49756" y="26828"/>
                    <a:pt x="49494" y="26081"/>
                  </a:cubicBezTo>
                  <a:lnTo>
                    <a:pt x="43243" y="1344"/>
                  </a:ln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50" name="Freeform: Shape 149">
              <a:extLst>
                <a:ext uri="{FF2B5EF4-FFF2-40B4-BE49-F238E27FC236}">
                  <a16:creationId xmlns:a16="http://schemas.microsoft.com/office/drawing/2014/main" id="{6072157C-5CBD-4564-A2FF-7C91F0761B67}"/>
                </a:ext>
              </a:extLst>
            </p:cNvPr>
            <p:cNvSpPr/>
            <p:nvPr/>
          </p:nvSpPr>
          <p:spPr>
            <a:xfrm>
              <a:off x="460037" y="4148344"/>
              <a:ext cx="122490" cy="31255"/>
            </a:xfrm>
            <a:custGeom>
              <a:avLst/>
              <a:gdLst>
                <a:gd name="connsiteX0" fmla="*/ 120676 w 122490"/>
                <a:gd name="connsiteY0" fmla="*/ 2273 h 31255"/>
                <a:gd name="connsiteX1" fmla="*/ 117750 w 122490"/>
                <a:gd name="connsiteY1" fmla="*/ 1076 h 31255"/>
                <a:gd name="connsiteX2" fmla="*/ 3774 w 122490"/>
                <a:gd name="connsiteY2" fmla="*/ 12 h 31255"/>
                <a:gd name="connsiteX3" fmla="*/ 3774 w 122490"/>
                <a:gd name="connsiteY3" fmla="*/ 12 h 31255"/>
                <a:gd name="connsiteX4" fmla="*/ 848 w 122490"/>
                <a:gd name="connsiteY4" fmla="*/ 1209 h 31255"/>
                <a:gd name="connsiteX5" fmla="*/ 183 w 122490"/>
                <a:gd name="connsiteY5" fmla="*/ 2140 h 31255"/>
                <a:gd name="connsiteX6" fmla="*/ 183 w 122490"/>
                <a:gd name="connsiteY6" fmla="*/ 4135 h 31255"/>
                <a:gd name="connsiteX7" fmla="*/ 183 w 122490"/>
                <a:gd name="connsiteY7" fmla="*/ 26079 h 31255"/>
                <a:gd name="connsiteX8" fmla="*/ 4439 w 122490"/>
                <a:gd name="connsiteY8" fmla="*/ 30335 h 31255"/>
                <a:gd name="connsiteX9" fmla="*/ 118282 w 122490"/>
                <a:gd name="connsiteY9" fmla="*/ 31266 h 31255"/>
                <a:gd name="connsiteX10" fmla="*/ 122535 w 122490"/>
                <a:gd name="connsiteY10" fmla="*/ 27279 h 31255"/>
                <a:gd name="connsiteX11" fmla="*/ 122538 w 122490"/>
                <a:gd name="connsiteY11" fmla="*/ 27143 h 31255"/>
                <a:gd name="connsiteX12" fmla="*/ 122538 w 122490"/>
                <a:gd name="connsiteY12" fmla="*/ 5199 h 31255"/>
                <a:gd name="connsiteX13" fmla="*/ 121341 w 122490"/>
                <a:gd name="connsiteY13" fmla="*/ 2273 h 3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490" h="31255">
                  <a:moveTo>
                    <a:pt x="120676" y="2273"/>
                  </a:moveTo>
                  <a:cubicBezTo>
                    <a:pt x="119916" y="1474"/>
                    <a:pt x="118851" y="1039"/>
                    <a:pt x="117750" y="1076"/>
                  </a:cubicBezTo>
                  <a:lnTo>
                    <a:pt x="3774" y="12"/>
                  </a:lnTo>
                  <a:lnTo>
                    <a:pt x="3774" y="12"/>
                  </a:lnTo>
                  <a:cubicBezTo>
                    <a:pt x="2678" y="7"/>
                    <a:pt x="1626" y="438"/>
                    <a:pt x="848" y="1209"/>
                  </a:cubicBezTo>
                  <a:lnTo>
                    <a:pt x="183" y="2140"/>
                  </a:lnTo>
                  <a:cubicBezTo>
                    <a:pt x="2" y="2793"/>
                    <a:pt x="2" y="3482"/>
                    <a:pt x="183" y="4135"/>
                  </a:cubicBezTo>
                  <a:lnTo>
                    <a:pt x="183" y="26079"/>
                  </a:lnTo>
                  <a:cubicBezTo>
                    <a:pt x="183" y="28429"/>
                    <a:pt x="2089" y="30335"/>
                    <a:pt x="4439" y="30335"/>
                  </a:cubicBezTo>
                  <a:lnTo>
                    <a:pt x="118282" y="31266"/>
                  </a:lnTo>
                  <a:cubicBezTo>
                    <a:pt x="120557" y="31339"/>
                    <a:pt x="122462" y="29554"/>
                    <a:pt x="122535" y="27279"/>
                  </a:cubicBezTo>
                  <a:cubicBezTo>
                    <a:pt x="122536" y="27233"/>
                    <a:pt x="122538" y="27188"/>
                    <a:pt x="122538" y="27143"/>
                  </a:cubicBezTo>
                  <a:lnTo>
                    <a:pt x="122538" y="5199"/>
                  </a:lnTo>
                  <a:cubicBezTo>
                    <a:pt x="122543" y="4103"/>
                    <a:pt x="122112" y="3051"/>
                    <a:pt x="121341" y="2273"/>
                  </a:cubicBez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51" name="Freeform: Shape 150">
              <a:extLst>
                <a:ext uri="{FF2B5EF4-FFF2-40B4-BE49-F238E27FC236}">
                  <a16:creationId xmlns:a16="http://schemas.microsoft.com/office/drawing/2014/main" id="{55C68F64-17A0-4488-BA3B-259DC9411E6F}"/>
                </a:ext>
              </a:extLst>
            </p:cNvPr>
            <p:cNvSpPr/>
            <p:nvPr/>
          </p:nvSpPr>
          <p:spPr>
            <a:xfrm>
              <a:off x="482837" y="3880228"/>
              <a:ext cx="148923" cy="256545"/>
            </a:xfrm>
            <a:custGeom>
              <a:avLst/>
              <a:gdLst>
                <a:gd name="connsiteX0" fmla="*/ 144956 w 148923"/>
                <a:gd name="connsiteY0" fmla="*/ 13312 h 256545"/>
                <a:gd name="connsiteX1" fmla="*/ 128996 w 148923"/>
                <a:gd name="connsiteY1" fmla="*/ 12 h 256545"/>
                <a:gd name="connsiteX2" fmla="*/ 111175 w 148923"/>
                <a:gd name="connsiteY2" fmla="*/ 36718 h 256545"/>
                <a:gd name="connsiteX3" fmla="*/ 111175 w 148923"/>
                <a:gd name="connsiteY3" fmla="*/ 98960 h 256545"/>
                <a:gd name="connsiteX4" fmla="*/ 99605 w 148923"/>
                <a:gd name="connsiteY4" fmla="*/ 132208 h 256545"/>
                <a:gd name="connsiteX5" fmla="*/ 95216 w 148923"/>
                <a:gd name="connsiteY5" fmla="*/ 137528 h 256545"/>
                <a:gd name="connsiteX6" fmla="*/ 61036 w 148923"/>
                <a:gd name="connsiteY6" fmla="*/ 172107 h 256545"/>
                <a:gd name="connsiteX7" fmla="*/ 52791 w 148923"/>
                <a:gd name="connsiteY7" fmla="*/ 172107 h 256545"/>
                <a:gd name="connsiteX8" fmla="*/ 52791 w 148923"/>
                <a:gd name="connsiteY8" fmla="*/ 163861 h 256545"/>
                <a:gd name="connsiteX9" fmla="*/ 86039 w 148923"/>
                <a:gd name="connsiteY9" fmla="*/ 130213 h 256545"/>
                <a:gd name="connsiteX10" fmla="*/ 84576 w 148923"/>
                <a:gd name="connsiteY10" fmla="*/ 112259 h 256545"/>
                <a:gd name="connsiteX11" fmla="*/ 65768 w 148923"/>
                <a:gd name="connsiteY11" fmla="*/ 112182 h 256545"/>
                <a:gd name="connsiteX12" fmla="*/ 65691 w 148923"/>
                <a:gd name="connsiteY12" fmla="*/ 112259 h 256545"/>
                <a:gd name="connsiteX13" fmla="*/ 23399 w 148923"/>
                <a:gd name="connsiteY13" fmla="*/ 152157 h 256545"/>
                <a:gd name="connsiteX14" fmla="*/ 11828 w 148923"/>
                <a:gd name="connsiteY14" fmla="*/ 162132 h 256545"/>
                <a:gd name="connsiteX15" fmla="*/ 391 w 148923"/>
                <a:gd name="connsiteY15" fmla="*/ 197774 h 256545"/>
                <a:gd name="connsiteX16" fmla="*/ 391 w 148923"/>
                <a:gd name="connsiteY16" fmla="*/ 256558 h 256545"/>
                <a:gd name="connsiteX17" fmla="*/ 69149 w 148923"/>
                <a:gd name="connsiteY17" fmla="*/ 256558 h 256545"/>
                <a:gd name="connsiteX18" fmla="*/ 69149 w 148923"/>
                <a:gd name="connsiteY18" fmla="*/ 241396 h 256545"/>
                <a:gd name="connsiteX19" fmla="*/ 71277 w 148923"/>
                <a:gd name="connsiteY19" fmla="*/ 237274 h 256545"/>
                <a:gd name="connsiteX20" fmla="*/ 136843 w 148923"/>
                <a:gd name="connsiteY20" fmla="*/ 172107 h 256545"/>
                <a:gd name="connsiteX21" fmla="*/ 148946 w 148923"/>
                <a:gd name="connsiteY21" fmla="*/ 142050 h 256545"/>
                <a:gd name="connsiteX22" fmla="*/ 144956 w 148923"/>
                <a:gd name="connsiteY22" fmla="*/ 13711 h 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8923" h="256545">
                  <a:moveTo>
                    <a:pt x="144956" y="13312"/>
                  </a:moveTo>
                  <a:cubicBezTo>
                    <a:pt x="143543" y="5607"/>
                    <a:pt x="136828" y="12"/>
                    <a:pt x="128996" y="12"/>
                  </a:cubicBezTo>
                  <a:cubicBezTo>
                    <a:pt x="117825" y="278"/>
                    <a:pt x="111175" y="13976"/>
                    <a:pt x="111175" y="36718"/>
                  </a:cubicBezTo>
                  <a:lnTo>
                    <a:pt x="111175" y="98960"/>
                  </a:lnTo>
                  <a:cubicBezTo>
                    <a:pt x="111513" y="111084"/>
                    <a:pt x="107397" y="122913"/>
                    <a:pt x="99605" y="132208"/>
                  </a:cubicBezTo>
                  <a:lnTo>
                    <a:pt x="95216" y="137528"/>
                  </a:lnTo>
                  <a:cubicBezTo>
                    <a:pt x="95216" y="137528"/>
                    <a:pt x="64627" y="168117"/>
                    <a:pt x="61036" y="172107"/>
                  </a:cubicBezTo>
                  <a:cubicBezTo>
                    <a:pt x="58754" y="174372"/>
                    <a:pt x="55073" y="174372"/>
                    <a:pt x="52791" y="172107"/>
                  </a:cubicBezTo>
                  <a:cubicBezTo>
                    <a:pt x="50526" y="169825"/>
                    <a:pt x="50526" y="166143"/>
                    <a:pt x="52791" y="163861"/>
                  </a:cubicBezTo>
                  <a:cubicBezTo>
                    <a:pt x="56382" y="160270"/>
                    <a:pt x="78592" y="138725"/>
                    <a:pt x="86039" y="130213"/>
                  </a:cubicBezTo>
                  <a:cubicBezTo>
                    <a:pt x="90296" y="124759"/>
                    <a:pt x="89659" y="116952"/>
                    <a:pt x="84576" y="112259"/>
                  </a:cubicBezTo>
                  <a:cubicBezTo>
                    <a:pt x="79404" y="107044"/>
                    <a:pt x="70983" y="107010"/>
                    <a:pt x="65768" y="112182"/>
                  </a:cubicBezTo>
                  <a:cubicBezTo>
                    <a:pt x="65743" y="112208"/>
                    <a:pt x="65716" y="112233"/>
                    <a:pt x="65691" y="112259"/>
                  </a:cubicBezTo>
                  <a:cubicBezTo>
                    <a:pt x="52718" y="126702"/>
                    <a:pt x="38572" y="140046"/>
                    <a:pt x="23399" y="152157"/>
                  </a:cubicBezTo>
                  <a:cubicBezTo>
                    <a:pt x="18877" y="155881"/>
                    <a:pt x="15020" y="159206"/>
                    <a:pt x="11828" y="162132"/>
                  </a:cubicBezTo>
                  <a:cubicBezTo>
                    <a:pt x="2951" y="171748"/>
                    <a:pt x="-1233" y="184789"/>
                    <a:pt x="391" y="197774"/>
                  </a:cubicBezTo>
                  <a:lnTo>
                    <a:pt x="391" y="256558"/>
                  </a:lnTo>
                  <a:lnTo>
                    <a:pt x="69149" y="256558"/>
                  </a:lnTo>
                  <a:lnTo>
                    <a:pt x="69149" y="241396"/>
                  </a:lnTo>
                  <a:cubicBezTo>
                    <a:pt x="69259" y="239787"/>
                    <a:pt x="70029" y="238296"/>
                    <a:pt x="71277" y="237274"/>
                  </a:cubicBezTo>
                  <a:lnTo>
                    <a:pt x="136843" y="172107"/>
                  </a:lnTo>
                  <a:cubicBezTo>
                    <a:pt x="144946" y="164250"/>
                    <a:pt x="149345" y="153330"/>
                    <a:pt x="148946" y="142050"/>
                  </a:cubicBezTo>
                  <a:lnTo>
                    <a:pt x="144956" y="13711"/>
                  </a:ln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IntelOne Text"/>
                <a:sym typeface="Helvetica Neue"/>
              </a:endParaRPr>
            </a:p>
          </p:txBody>
        </p:sp>
        <p:sp>
          <p:nvSpPr>
            <p:cNvPr id="152" name="Freeform: Shape 151">
              <a:extLst>
                <a:ext uri="{FF2B5EF4-FFF2-40B4-BE49-F238E27FC236}">
                  <a16:creationId xmlns:a16="http://schemas.microsoft.com/office/drawing/2014/main" id="{F4456B5E-1B98-410E-9EB2-E7DF8AC5F3FD}"/>
                </a:ext>
              </a:extLst>
            </p:cNvPr>
            <p:cNvSpPr/>
            <p:nvPr/>
          </p:nvSpPr>
          <p:spPr>
            <a:xfrm>
              <a:off x="467956" y="4156823"/>
              <a:ext cx="13624" cy="13587"/>
            </a:xfrm>
            <a:custGeom>
              <a:avLst/>
              <a:gdLst>
                <a:gd name="connsiteX0" fmla="*/ 9421 w 13624"/>
                <a:gd name="connsiteY0" fmla="*/ 444 h 13587"/>
                <a:gd name="connsiteX1" fmla="*/ 13179 w 13624"/>
                <a:gd name="connsiteY1" fmla="*/ 9270 h 13587"/>
                <a:gd name="connsiteX2" fmla="*/ 13145 w 13624"/>
                <a:gd name="connsiteY2" fmla="*/ 9355 h 13587"/>
                <a:gd name="connsiteX3" fmla="*/ 4540 w 13624"/>
                <a:gd name="connsiteY3" fmla="*/ 13148 h 13587"/>
                <a:gd name="connsiteX4" fmla="*/ 4367 w 13624"/>
                <a:gd name="connsiteY4" fmla="*/ 13079 h 13587"/>
                <a:gd name="connsiteX5" fmla="*/ 510 w 13624"/>
                <a:gd name="connsiteY5" fmla="*/ 4301 h 13587"/>
                <a:gd name="connsiteX6" fmla="*/ 9421 w 13624"/>
                <a:gd name="connsiteY6" fmla="*/ 444 h 13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4" h="13587">
                  <a:moveTo>
                    <a:pt x="9421" y="444"/>
                  </a:moveTo>
                  <a:cubicBezTo>
                    <a:pt x="12896" y="1843"/>
                    <a:pt x="14578" y="5795"/>
                    <a:pt x="13179" y="9270"/>
                  </a:cubicBezTo>
                  <a:cubicBezTo>
                    <a:pt x="13169" y="9298"/>
                    <a:pt x="13157" y="9327"/>
                    <a:pt x="13145" y="9355"/>
                  </a:cubicBezTo>
                  <a:cubicBezTo>
                    <a:pt x="11816" y="12778"/>
                    <a:pt x="7963" y="14476"/>
                    <a:pt x="4540" y="13148"/>
                  </a:cubicBezTo>
                  <a:cubicBezTo>
                    <a:pt x="4481" y="13126"/>
                    <a:pt x="4424" y="13103"/>
                    <a:pt x="4367" y="13079"/>
                  </a:cubicBezTo>
                  <a:cubicBezTo>
                    <a:pt x="880" y="11718"/>
                    <a:pt x="-846" y="7789"/>
                    <a:pt x="510" y="4301"/>
                  </a:cubicBezTo>
                  <a:cubicBezTo>
                    <a:pt x="1980" y="848"/>
                    <a:pt x="5898" y="-847"/>
                    <a:pt x="9421" y="444"/>
                  </a:cubicBez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53" name="Freeform: Shape 152">
              <a:extLst>
                <a:ext uri="{FF2B5EF4-FFF2-40B4-BE49-F238E27FC236}">
                  <a16:creationId xmlns:a16="http://schemas.microsoft.com/office/drawing/2014/main" id="{609C9DC1-639E-49F7-843A-E5EF1835F62C}"/>
                </a:ext>
              </a:extLst>
            </p:cNvPr>
            <p:cNvSpPr/>
            <p:nvPr/>
          </p:nvSpPr>
          <p:spPr>
            <a:xfrm>
              <a:off x="305625" y="4148343"/>
              <a:ext cx="122498" cy="31256"/>
            </a:xfrm>
            <a:custGeom>
              <a:avLst/>
              <a:gdLst>
                <a:gd name="connsiteX0" fmla="*/ 1917 w 122498"/>
                <a:gd name="connsiteY0" fmla="*/ 2274 h 31256"/>
                <a:gd name="connsiteX1" fmla="*/ 4843 w 122498"/>
                <a:gd name="connsiteY1" fmla="*/ 1077 h 31256"/>
                <a:gd name="connsiteX2" fmla="*/ 118686 w 122498"/>
                <a:gd name="connsiteY2" fmla="*/ 13 h 31256"/>
                <a:gd name="connsiteX3" fmla="*/ 118686 w 122498"/>
                <a:gd name="connsiteY3" fmla="*/ 13 h 31256"/>
                <a:gd name="connsiteX4" fmla="*/ 121745 w 122498"/>
                <a:gd name="connsiteY4" fmla="*/ 1210 h 31256"/>
                <a:gd name="connsiteX5" fmla="*/ 122410 w 122498"/>
                <a:gd name="connsiteY5" fmla="*/ 2141 h 31256"/>
                <a:gd name="connsiteX6" fmla="*/ 122410 w 122498"/>
                <a:gd name="connsiteY6" fmla="*/ 4136 h 31256"/>
                <a:gd name="connsiteX7" fmla="*/ 122410 w 122498"/>
                <a:gd name="connsiteY7" fmla="*/ 26080 h 31256"/>
                <a:gd name="connsiteX8" fmla="*/ 118154 w 122498"/>
                <a:gd name="connsiteY8" fmla="*/ 30336 h 31256"/>
                <a:gd name="connsiteX9" fmla="*/ 4311 w 122498"/>
                <a:gd name="connsiteY9" fmla="*/ 31267 h 31256"/>
                <a:gd name="connsiteX10" fmla="*/ 58 w 122498"/>
                <a:gd name="connsiteY10" fmla="*/ 27280 h 31256"/>
                <a:gd name="connsiteX11" fmla="*/ 55 w 122498"/>
                <a:gd name="connsiteY11" fmla="*/ 27144 h 31256"/>
                <a:gd name="connsiteX12" fmla="*/ 55 w 122498"/>
                <a:gd name="connsiteY12" fmla="*/ 5200 h 31256"/>
                <a:gd name="connsiteX13" fmla="*/ 1252 w 122498"/>
                <a:gd name="connsiteY13" fmla="*/ 2274 h 3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498" h="31256">
                  <a:moveTo>
                    <a:pt x="1917" y="2274"/>
                  </a:moveTo>
                  <a:cubicBezTo>
                    <a:pt x="2695" y="1503"/>
                    <a:pt x="3747" y="1072"/>
                    <a:pt x="4843" y="1077"/>
                  </a:cubicBezTo>
                  <a:lnTo>
                    <a:pt x="118686" y="13"/>
                  </a:lnTo>
                  <a:lnTo>
                    <a:pt x="118686" y="13"/>
                  </a:lnTo>
                  <a:cubicBezTo>
                    <a:pt x="119825" y="-13"/>
                    <a:pt x="120927" y="418"/>
                    <a:pt x="121745" y="1210"/>
                  </a:cubicBezTo>
                  <a:lnTo>
                    <a:pt x="122410" y="2141"/>
                  </a:lnTo>
                  <a:cubicBezTo>
                    <a:pt x="122591" y="2794"/>
                    <a:pt x="122591" y="3483"/>
                    <a:pt x="122410" y="4136"/>
                  </a:cubicBezTo>
                  <a:lnTo>
                    <a:pt x="122410" y="26080"/>
                  </a:lnTo>
                  <a:cubicBezTo>
                    <a:pt x="122410" y="28430"/>
                    <a:pt x="120504" y="30336"/>
                    <a:pt x="118154" y="30336"/>
                  </a:cubicBezTo>
                  <a:lnTo>
                    <a:pt x="4311" y="31267"/>
                  </a:lnTo>
                  <a:cubicBezTo>
                    <a:pt x="2036" y="31340"/>
                    <a:pt x="131" y="29555"/>
                    <a:pt x="58" y="27280"/>
                  </a:cubicBezTo>
                  <a:cubicBezTo>
                    <a:pt x="55" y="27235"/>
                    <a:pt x="55" y="27189"/>
                    <a:pt x="55" y="27144"/>
                  </a:cubicBezTo>
                  <a:lnTo>
                    <a:pt x="55" y="5200"/>
                  </a:lnTo>
                  <a:cubicBezTo>
                    <a:pt x="-19" y="4092"/>
                    <a:pt x="423" y="3012"/>
                    <a:pt x="1252" y="2274"/>
                  </a:cubicBez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54" name="Freeform: Shape 153">
              <a:extLst>
                <a:ext uri="{FF2B5EF4-FFF2-40B4-BE49-F238E27FC236}">
                  <a16:creationId xmlns:a16="http://schemas.microsoft.com/office/drawing/2014/main" id="{6CD07878-1C9F-4464-A8CA-6100367A625A}"/>
                </a:ext>
              </a:extLst>
            </p:cNvPr>
            <p:cNvSpPr/>
            <p:nvPr/>
          </p:nvSpPr>
          <p:spPr>
            <a:xfrm>
              <a:off x="257403" y="3880361"/>
              <a:ext cx="147921" cy="257077"/>
            </a:xfrm>
            <a:custGeom>
              <a:avLst/>
              <a:gdLst>
                <a:gd name="connsiteX0" fmla="*/ 4124 w 147921"/>
                <a:gd name="connsiteY0" fmla="*/ 13179 h 257077"/>
                <a:gd name="connsiteX1" fmla="*/ 134 w 147921"/>
                <a:gd name="connsiteY1" fmla="*/ 141651 h 257077"/>
                <a:gd name="connsiteX2" fmla="*/ 11572 w 147921"/>
                <a:gd name="connsiteY2" fmla="*/ 171974 h 257077"/>
                <a:gd name="connsiteX3" fmla="*/ 77138 w 147921"/>
                <a:gd name="connsiteY3" fmla="*/ 237540 h 257077"/>
                <a:gd name="connsiteX4" fmla="*/ 78867 w 147921"/>
                <a:gd name="connsiteY4" fmla="*/ 241662 h 257077"/>
                <a:gd name="connsiteX5" fmla="*/ 78867 w 147921"/>
                <a:gd name="connsiteY5" fmla="*/ 257090 h 257077"/>
                <a:gd name="connsiteX6" fmla="*/ 147625 w 147921"/>
                <a:gd name="connsiteY6" fmla="*/ 257090 h 257077"/>
                <a:gd name="connsiteX7" fmla="*/ 147625 w 147921"/>
                <a:gd name="connsiteY7" fmla="*/ 197774 h 257077"/>
                <a:gd name="connsiteX8" fmla="*/ 136187 w 147921"/>
                <a:gd name="connsiteY8" fmla="*/ 162132 h 257077"/>
                <a:gd name="connsiteX9" fmla="*/ 124617 w 147921"/>
                <a:gd name="connsiteY9" fmla="*/ 152157 h 257077"/>
                <a:gd name="connsiteX10" fmla="*/ 82325 w 147921"/>
                <a:gd name="connsiteY10" fmla="*/ 112259 h 257077"/>
                <a:gd name="connsiteX11" fmla="*/ 63517 w 147921"/>
                <a:gd name="connsiteY11" fmla="*/ 112182 h 257077"/>
                <a:gd name="connsiteX12" fmla="*/ 63439 w 147921"/>
                <a:gd name="connsiteY12" fmla="*/ 112259 h 257077"/>
                <a:gd name="connsiteX13" fmla="*/ 62375 w 147921"/>
                <a:gd name="connsiteY13" fmla="*/ 129681 h 257077"/>
                <a:gd name="connsiteX14" fmla="*/ 95624 w 147921"/>
                <a:gd name="connsiteY14" fmla="*/ 163329 h 257077"/>
                <a:gd name="connsiteX15" fmla="*/ 95624 w 147921"/>
                <a:gd name="connsiteY15" fmla="*/ 171575 h 257077"/>
                <a:gd name="connsiteX16" fmla="*/ 87378 w 147921"/>
                <a:gd name="connsiteY16" fmla="*/ 171575 h 257077"/>
                <a:gd name="connsiteX17" fmla="*/ 53199 w 147921"/>
                <a:gd name="connsiteY17" fmla="*/ 136863 h 257077"/>
                <a:gd name="connsiteX18" fmla="*/ 48677 w 147921"/>
                <a:gd name="connsiteY18" fmla="*/ 131543 h 257077"/>
                <a:gd name="connsiteX19" fmla="*/ 36841 w 147921"/>
                <a:gd name="connsiteY19" fmla="*/ 98960 h 257077"/>
                <a:gd name="connsiteX20" fmla="*/ 36841 w 147921"/>
                <a:gd name="connsiteY20" fmla="*/ 36718 h 257077"/>
                <a:gd name="connsiteX21" fmla="*/ 19152 w 147921"/>
                <a:gd name="connsiteY21" fmla="*/ 12 h 257077"/>
                <a:gd name="connsiteX22" fmla="*/ 3193 w 147921"/>
                <a:gd name="connsiteY22" fmla="*/ 13312 h 25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7921" h="257077">
                  <a:moveTo>
                    <a:pt x="4124" y="13179"/>
                  </a:moveTo>
                  <a:lnTo>
                    <a:pt x="134" y="141651"/>
                  </a:lnTo>
                  <a:cubicBezTo>
                    <a:pt x="-619" y="152937"/>
                    <a:pt x="3552" y="163996"/>
                    <a:pt x="11572" y="171974"/>
                  </a:cubicBezTo>
                  <a:lnTo>
                    <a:pt x="77138" y="237540"/>
                  </a:lnTo>
                  <a:cubicBezTo>
                    <a:pt x="78238" y="238632"/>
                    <a:pt x="78859" y="240113"/>
                    <a:pt x="78867" y="241662"/>
                  </a:cubicBezTo>
                  <a:lnTo>
                    <a:pt x="78867" y="257090"/>
                  </a:lnTo>
                  <a:lnTo>
                    <a:pt x="147625" y="257090"/>
                  </a:lnTo>
                  <a:lnTo>
                    <a:pt x="147625" y="197774"/>
                  </a:lnTo>
                  <a:cubicBezTo>
                    <a:pt x="149249" y="184789"/>
                    <a:pt x="145065" y="171748"/>
                    <a:pt x="136187" y="162132"/>
                  </a:cubicBezTo>
                  <a:cubicBezTo>
                    <a:pt x="132995" y="159206"/>
                    <a:pt x="129139" y="155881"/>
                    <a:pt x="124617" y="152157"/>
                  </a:cubicBezTo>
                  <a:cubicBezTo>
                    <a:pt x="109444" y="140046"/>
                    <a:pt x="95298" y="126702"/>
                    <a:pt x="82325" y="112259"/>
                  </a:cubicBezTo>
                  <a:cubicBezTo>
                    <a:pt x="77152" y="107044"/>
                    <a:pt x="68731" y="107010"/>
                    <a:pt x="63517" y="112182"/>
                  </a:cubicBezTo>
                  <a:cubicBezTo>
                    <a:pt x="63491" y="112208"/>
                    <a:pt x="63465" y="112233"/>
                    <a:pt x="63439" y="112259"/>
                  </a:cubicBezTo>
                  <a:cubicBezTo>
                    <a:pt x="58790" y="116989"/>
                    <a:pt x="58336" y="124421"/>
                    <a:pt x="62375" y="129681"/>
                  </a:cubicBezTo>
                  <a:cubicBezTo>
                    <a:pt x="69823" y="138193"/>
                    <a:pt x="92033" y="159738"/>
                    <a:pt x="95624" y="163329"/>
                  </a:cubicBezTo>
                  <a:cubicBezTo>
                    <a:pt x="97889" y="165611"/>
                    <a:pt x="97889" y="169293"/>
                    <a:pt x="95624" y="171575"/>
                  </a:cubicBezTo>
                  <a:cubicBezTo>
                    <a:pt x="93342" y="173840"/>
                    <a:pt x="89661" y="173840"/>
                    <a:pt x="87378" y="171575"/>
                  </a:cubicBezTo>
                  <a:cubicBezTo>
                    <a:pt x="83788" y="168117"/>
                    <a:pt x="53465" y="137262"/>
                    <a:pt x="53199" y="136863"/>
                  </a:cubicBezTo>
                  <a:lnTo>
                    <a:pt x="48677" y="131543"/>
                  </a:lnTo>
                  <a:cubicBezTo>
                    <a:pt x="40931" y="122465"/>
                    <a:pt x="36728" y="110893"/>
                    <a:pt x="36841" y="98960"/>
                  </a:cubicBezTo>
                  <a:lnTo>
                    <a:pt x="36841" y="36718"/>
                  </a:lnTo>
                  <a:cubicBezTo>
                    <a:pt x="36841" y="13976"/>
                    <a:pt x="30324" y="278"/>
                    <a:pt x="19152" y="12"/>
                  </a:cubicBezTo>
                  <a:cubicBezTo>
                    <a:pt x="11320" y="12"/>
                    <a:pt x="4605" y="5607"/>
                    <a:pt x="3193" y="13312"/>
                  </a:cubicBez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55" name="Freeform: Shape 154">
              <a:extLst>
                <a:ext uri="{FF2B5EF4-FFF2-40B4-BE49-F238E27FC236}">
                  <a16:creationId xmlns:a16="http://schemas.microsoft.com/office/drawing/2014/main" id="{F7945DDB-70F3-4573-A9BA-4432B602CE77}"/>
                </a:ext>
              </a:extLst>
            </p:cNvPr>
            <p:cNvSpPr/>
            <p:nvPr/>
          </p:nvSpPr>
          <p:spPr>
            <a:xfrm>
              <a:off x="406905" y="4156823"/>
              <a:ext cx="13699" cy="13554"/>
            </a:xfrm>
            <a:custGeom>
              <a:avLst/>
              <a:gdLst>
                <a:gd name="connsiteX0" fmla="*/ 4373 w 13699"/>
                <a:gd name="connsiteY0" fmla="*/ 444 h 13554"/>
                <a:gd name="connsiteX1" fmla="*/ 516 w 13699"/>
                <a:gd name="connsiteY1" fmla="*/ 9355 h 13554"/>
                <a:gd name="connsiteX2" fmla="*/ 9427 w 13699"/>
                <a:gd name="connsiteY2" fmla="*/ 13079 h 13554"/>
                <a:gd name="connsiteX3" fmla="*/ 13284 w 13699"/>
                <a:gd name="connsiteY3" fmla="*/ 4301 h 13554"/>
                <a:gd name="connsiteX4" fmla="*/ 4373 w 13699"/>
                <a:gd name="connsiteY4" fmla="*/ 44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99" h="13554">
                  <a:moveTo>
                    <a:pt x="4373" y="444"/>
                  </a:moveTo>
                  <a:cubicBezTo>
                    <a:pt x="867" y="1861"/>
                    <a:pt x="-850" y="5829"/>
                    <a:pt x="516" y="9355"/>
                  </a:cubicBezTo>
                  <a:cubicBezTo>
                    <a:pt x="1985" y="12807"/>
                    <a:pt x="5939" y="14460"/>
                    <a:pt x="9427" y="13079"/>
                  </a:cubicBezTo>
                  <a:cubicBezTo>
                    <a:pt x="12914" y="11718"/>
                    <a:pt x="14640" y="7789"/>
                    <a:pt x="13284" y="4301"/>
                  </a:cubicBezTo>
                  <a:cubicBezTo>
                    <a:pt x="11814" y="848"/>
                    <a:pt x="7896" y="-847"/>
                    <a:pt x="4373" y="444"/>
                  </a:cubicBez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sp>
          <p:nvSpPr>
            <p:cNvPr id="156" name="Freeform: Shape 155">
              <a:extLst>
                <a:ext uri="{FF2B5EF4-FFF2-40B4-BE49-F238E27FC236}">
                  <a16:creationId xmlns:a16="http://schemas.microsoft.com/office/drawing/2014/main" id="{19F28E34-EDFE-4A9B-8191-74B61CF96517}"/>
                </a:ext>
              </a:extLst>
            </p:cNvPr>
            <p:cNvSpPr/>
            <p:nvPr/>
          </p:nvSpPr>
          <p:spPr>
            <a:xfrm>
              <a:off x="368705" y="3866795"/>
              <a:ext cx="151015" cy="143602"/>
            </a:xfrm>
            <a:custGeom>
              <a:avLst/>
              <a:gdLst>
                <a:gd name="connsiteX0" fmla="*/ 79013 w 151015"/>
                <a:gd name="connsiteY0" fmla="*/ 2273 h 143602"/>
                <a:gd name="connsiteX1" fmla="*/ 96169 w 151015"/>
                <a:gd name="connsiteY1" fmla="*/ 47491 h 143602"/>
                <a:gd name="connsiteX2" fmla="*/ 99361 w 151015"/>
                <a:gd name="connsiteY2" fmla="*/ 49885 h 143602"/>
                <a:gd name="connsiteX3" fmla="*/ 147638 w 151015"/>
                <a:gd name="connsiteY3" fmla="*/ 52146 h 143602"/>
                <a:gd name="connsiteX4" fmla="*/ 150830 w 151015"/>
                <a:gd name="connsiteY4" fmla="*/ 54673 h 143602"/>
                <a:gd name="connsiteX5" fmla="*/ 149633 w 151015"/>
                <a:gd name="connsiteY5" fmla="*/ 58530 h 143602"/>
                <a:gd name="connsiteX6" fmla="*/ 111996 w 151015"/>
                <a:gd name="connsiteY6" fmla="*/ 88852 h 143602"/>
                <a:gd name="connsiteX7" fmla="*/ 110799 w 151015"/>
                <a:gd name="connsiteY7" fmla="*/ 92576 h 143602"/>
                <a:gd name="connsiteX8" fmla="*/ 123433 w 151015"/>
                <a:gd name="connsiteY8" fmla="*/ 139257 h 143602"/>
                <a:gd name="connsiteX9" fmla="*/ 122103 w 151015"/>
                <a:gd name="connsiteY9" fmla="*/ 142981 h 143602"/>
                <a:gd name="connsiteX10" fmla="*/ 118113 w 151015"/>
                <a:gd name="connsiteY10" fmla="*/ 142981 h 143602"/>
                <a:gd name="connsiteX11" fmla="*/ 77550 w 151015"/>
                <a:gd name="connsiteY11" fmla="*/ 116382 h 143602"/>
                <a:gd name="connsiteX12" fmla="*/ 73693 w 151015"/>
                <a:gd name="connsiteY12" fmla="*/ 116382 h 143602"/>
                <a:gd name="connsiteX13" fmla="*/ 33130 w 151015"/>
                <a:gd name="connsiteY13" fmla="*/ 142981 h 143602"/>
                <a:gd name="connsiteX14" fmla="*/ 29140 w 151015"/>
                <a:gd name="connsiteY14" fmla="*/ 142981 h 143602"/>
                <a:gd name="connsiteX15" fmla="*/ 27810 w 151015"/>
                <a:gd name="connsiteY15" fmla="*/ 139257 h 143602"/>
                <a:gd name="connsiteX16" fmla="*/ 41110 w 151015"/>
                <a:gd name="connsiteY16" fmla="*/ 92576 h 143602"/>
                <a:gd name="connsiteX17" fmla="*/ 39115 w 151015"/>
                <a:gd name="connsiteY17" fmla="*/ 88852 h 143602"/>
                <a:gd name="connsiteX18" fmla="*/ 1344 w 151015"/>
                <a:gd name="connsiteY18" fmla="*/ 58530 h 143602"/>
                <a:gd name="connsiteX19" fmla="*/ 281 w 151015"/>
                <a:gd name="connsiteY19" fmla="*/ 54673 h 143602"/>
                <a:gd name="connsiteX20" fmla="*/ 3605 w 151015"/>
                <a:gd name="connsiteY20" fmla="*/ 52545 h 143602"/>
                <a:gd name="connsiteX21" fmla="*/ 52414 w 151015"/>
                <a:gd name="connsiteY21" fmla="*/ 49885 h 143602"/>
                <a:gd name="connsiteX22" fmla="*/ 55606 w 151015"/>
                <a:gd name="connsiteY22" fmla="*/ 47491 h 143602"/>
                <a:gd name="connsiteX23" fmla="*/ 72762 w 151015"/>
                <a:gd name="connsiteY23" fmla="*/ 2273 h 143602"/>
                <a:gd name="connsiteX24" fmla="*/ 76087 w 151015"/>
                <a:gd name="connsiteY24" fmla="*/ 12 h 143602"/>
                <a:gd name="connsiteX25" fmla="*/ 79545 w 151015"/>
                <a:gd name="connsiteY25" fmla="*/ 2273 h 14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015" h="143602">
                  <a:moveTo>
                    <a:pt x="79013" y="2273"/>
                  </a:moveTo>
                  <a:lnTo>
                    <a:pt x="96169" y="47491"/>
                  </a:lnTo>
                  <a:cubicBezTo>
                    <a:pt x="96651" y="48861"/>
                    <a:pt x="97912" y="49806"/>
                    <a:pt x="99361" y="49885"/>
                  </a:cubicBezTo>
                  <a:lnTo>
                    <a:pt x="147638" y="52146"/>
                  </a:lnTo>
                  <a:cubicBezTo>
                    <a:pt x="149122" y="52245"/>
                    <a:pt x="150393" y="53250"/>
                    <a:pt x="150830" y="54673"/>
                  </a:cubicBezTo>
                  <a:cubicBezTo>
                    <a:pt x="151398" y="56079"/>
                    <a:pt x="150898" y="57692"/>
                    <a:pt x="149633" y="58530"/>
                  </a:cubicBezTo>
                  <a:lnTo>
                    <a:pt x="111996" y="88852"/>
                  </a:lnTo>
                  <a:cubicBezTo>
                    <a:pt x="110832" y="89703"/>
                    <a:pt x="110348" y="91207"/>
                    <a:pt x="110799" y="92576"/>
                  </a:cubicBezTo>
                  <a:lnTo>
                    <a:pt x="123433" y="139257"/>
                  </a:lnTo>
                  <a:cubicBezTo>
                    <a:pt x="123856" y="140656"/>
                    <a:pt x="123316" y="142167"/>
                    <a:pt x="122103" y="142981"/>
                  </a:cubicBezTo>
                  <a:cubicBezTo>
                    <a:pt x="120908" y="143825"/>
                    <a:pt x="119309" y="143825"/>
                    <a:pt x="118113" y="142981"/>
                  </a:cubicBezTo>
                  <a:lnTo>
                    <a:pt x="77550" y="116382"/>
                  </a:lnTo>
                  <a:cubicBezTo>
                    <a:pt x="76384" y="115598"/>
                    <a:pt x="74860" y="115598"/>
                    <a:pt x="73693" y="116382"/>
                  </a:cubicBezTo>
                  <a:lnTo>
                    <a:pt x="33130" y="142981"/>
                  </a:lnTo>
                  <a:cubicBezTo>
                    <a:pt x="31934" y="143825"/>
                    <a:pt x="30336" y="143825"/>
                    <a:pt x="29140" y="142981"/>
                  </a:cubicBezTo>
                  <a:cubicBezTo>
                    <a:pt x="27889" y="142197"/>
                    <a:pt x="27338" y="140656"/>
                    <a:pt x="27810" y="139257"/>
                  </a:cubicBezTo>
                  <a:lnTo>
                    <a:pt x="41110" y="92576"/>
                  </a:lnTo>
                  <a:cubicBezTo>
                    <a:pt x="41323" y="91034"/>
                    <a:pt x="40517" y="89530"/>
                    <a:pt x="39115" y="88852"/>
                  </a:cubicBezTo>
                  <a:lnTo>
                    <a:pt x="1344" y="58530"/>
                  </a:lnTo>
                  <a:cubicBezTo>
                    <a:pt x="169" y="57625"/>
                    <a:pt x="-265" y="56052"/>
                    <a:pt x="281" y="54673"/>
                  </a:cubicBezTo>
                  <a:cubicBezTo>
                    <a:pt x="864" y="53363"/>
                    <a:pt x="2172" y="52527"/>
                    <a:pt x="3605" y="52545"/>
                  </a:cubicBezTo>
                  <a:lnTo>
                    <a:pt x="52414" y="49885"/>
                  </a:lnTo>
                  <a:cubicBezTo>
                    <a:pt x="53864" y="49806"/>
                    <a:pt x="55125" y="48861"/>
                    <a:pt x="55606" y="47491"/>
                  </a:cubicBezTo>
                  <a:lnTo>
                    <a:pt x="72762" y="2273"/>
                  </a:lnTo>
                  <a:cubicBezTo>
                    <a:pt x="73305" y="911"/>
                    <a:pt x="74622" y="16"/>
                    <a:pt x="76087" y="12"/>
                  </a:cubicBezTo>
                  <a:cubicBezTo>
                    <a:pt x="77581" y="33"/>
                    <a:pt x="78927" y="914"/>
                    <a:pt x="79545" y="2273"/>
                  </a:cubicBezTo>
                  <a:close/>
                </a:path>
              </a:pathLst>
            </a:custGeom>
            <a:grpFill/>
            <a:ln w="13267" cap="flat">
              <a:noFill/>
              <a:prstDash val="solid"/>
              <a:miter/>
            </a:ln>
          </p:spPr>
          <p:txBody>
            <a:bodyPr rtlCol="0" anchor="ctr"/>
            <a:lstStyle/>
            <a:p>
              <a:pPr marL="0" marR="0" lvl="0" indent="0" algn="l" defTabSz="1219169" rtl="0" eaLnBrk="1" fontAlgn="auto" latinLnBrk="0" hangingPunct="0">
                <a:lnSpc>
                  <a:spcPct val="90000"/>
                </a:lnSpc>
                <a:spcBef>
                  <a:spcPts val="225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IntelOne Text"/>
                <a:sym typeface="Helvetica Neue"/>
              </a:endParaRPr>
            </a:p>
          </p:txBody>
        </p:sp>
      </p:grpSp>
      <p:sp>
        <p:nvSpPr>
          <p:cNvPr id="163" name="TextBox 162">
            <a:extLst>
              <a:ext uri="{FF2B5EF4-FFF2-40B4-BE49-F238E27FC236}">
                <a16:creationId xmlns:a16="http://schemas.microsoft.com/office/drawing/2014/main" id="{40A00470-1A7C-4D5C-82CD-1C320217E546}"/>
              </a:ext>
              <a:ext uri="{C183D7F6-B498-43B3-948B-1728B52AA6E4}">
                <adec:decorative xmlns:adec="http://schemas.microsoft.com/office/drawing/2017/decorative" val="1"/>
              </a:ext>
            </a:extLst>
          </p:cNvPr>
          <p:cNvSpPr txBox="1"/>
          <p:nvPr/>
        </p:nvSpPr>
        <p:spPr>
          <a:xfrm>
            <a:off x="5167630" y="4259683"/>
            <a:ext cx="2548975"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IntelOne Text"/>
                <a:ea typeface="+mn-ea"/>
                <a:cs typeface="+mn-cs"/>
                <a:sym typeface="Helvetica Neue"/>
              </a:rPr>
              <a:t>Solution Diagram</a:t>
            </a:r>
          </a:p>
        </p:txBody>
      </p:sp>
      <p:sp>
        <p:nvSpPr>
          <p:cNvPr id="61" name="Title 2">
            <a:extLst>
              <a:ext uri="{FF2B5EF4-FFF2-40B4-BE49-F238E27FC236}">
                <a16:creationId xmlns:a16="http://schemas.microsoft.com/office/drawing/2014/main" id="{812B0073-FC36-08DA-14FD-CBE799336EB0}"/>
              </a:ext>
            </a:extLst>
          </p:cNvPr>
          <p:cNvSpPr txBox="1">
            <a:spLocks/>
          </p:cNvSpPr>
          <p:nvPr/>
        </p:nvSpPr>
        <p:spPr>
          <a:xfrm>
            <a:off x="250529" y="935091"/>
            <a:ext cx="9782934" cy="883673"/>
          </a:xfrm>
          <a:prstGeom prst="rect">
            <a:avLst/>
          </a:prstGeom>
        </p:spPr>
        <p:txBody>
          <a:bodyPr/>
          <a:lstStyle>
            <a:lvl1pPr marL="0" marR="0" indent="0" algn="l" defTabSz="609600" latinLnBrk="0">
              <a:lnSpc>
                <a:spcPct val="90000"/>
              </a:lnSpc>
              <a:spcBef>
                <a:spcPts val="0"/>
              </a:spcBef>
              <a:spcAft>
                <a:spcPts val="0"/>
              </a:spcAft>
              <a:buClrTx/>
              <a:buSzTx/>
              <a:buFontTx/>
              <a:buNone/>
              <a:tabLst/>
              <a:defRPr sz="40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err="1">
                <a:ln>
                  <a:noFill/>
                </a:ln>
                <a:solidFill>
                  <a:schemeClr val="bg1"/>
                </a:solidFill>
                <a:effectLst/>
                <a:uLnTx/>
                <a:uFillTx/>
                <a:latin typeface="IntelOne Display Light"/>
                <a:ea typeface="+mj-ea"/>
                <a:cs typeface="+mj-cs"/>
                <a:sym typeface="Helvetica Neue"/>
              </a:rPr>
              <a:t>Lekha</a:t>
            </a:r>
            <a:r>
              <a:rPr kumimoji="0" lang="en-US" sz="3200" b="0" i="0" u="none" strike="noStrike" kern="1200" cap="none" spc="0" normalizeH="0" baseline="0" noProof="0" dirty="0">
                <a:ln>
                  <a:noFill/>
                </a:ln>
                <a:solidFill>
                  <a:schemeClr val="bg1"/>
                </a:solidFill>
                <a:effectLst/>
                <a:uLnTx/>
                <a:uFillTx/>
                <a:latin typeface="IntelOne Display Light"/>
                <a:ea typeface="+mj-ea"/>
                <a:cs typeface="+mj-cs"/>
                <a:sym typeface="Helvetica Neue"/>
              </a:rPr>
              <a:t> Wireless 3GPP 4G and 5G Open Radio Access Network (O-RAN)</a:t>
            </a:r>
          </a:p>
        </p:txBody>
      </p:sp>
      <p:sp>
        <p:nvSpPr>
          <p:cNvPr id="64" name="Content Placeholder 47">
            <a:extLst>
              <a:ext uri="{FF2B5EF4-FFF2-40B4-BE49-F238E27FC236}">
                <a16:creationId xmlns:a16="http://schemas.microsoft.com/office/drawing/2014/main" id="{0588E5F8-D4DF-2C42-94B1-EA4DD4D4B7DA}"/>
              </a:ext>
              <a:ext uri="{C183D7F6-B498-43B3-948B-1728B52AA6E4}">
                <adec:decorative xmlns:adec="http://schemas.microsoft.com/office/drawing/2017/decorative" val="1"/>
              </a:ext>
            </a:extLst>
          </p:cNvPr>
          <p:cNvSpPr txBox="1">
            <a:spLocks/>
          </p:cNvSpPr>
          <p:nvPr/>
        </p:nvSpPr>
        <p:spPr>
          <a:xfrm>
            <a:off x="519727" y="1971881"/>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0" cap="none" spc="0" normalizeH="0" baseline="0" noProof="0" dirty="0">
                <a:ln>
                  <a:noFill/>
                </a:ln>
                <a:solidFill>
                  <a:srgbClr val="525252"/>
                </a:solidFill>
                <a:effectLst/>
                <a:uLnTx/>
                <a:uFillTx/>
                <a:latin typeface="IntelOne Text" panose="020B0503020203020204" pitchFamily="34" charset="0"/>
                <a:sym typeface="Helvetica"/>
              </a:rPr>
              <a:t>Solution Overview</a:t>
            </a:r>
          </a:p>
        </p:txBody>
      </p:sp>
      <p:sp>
        <p:nvSpPr>
          <p:cNvPr id="65" name="Content Placeholder 47">
            <a:extLst>
              <a:ext uri="{FF2B5EF4-FFF2-40B4-BE49-F238E27FC236}">
                <a16:creationId xmlns:a16="http://schemas.microsoft.com/office/drawing/2014/main" id="{1E3ABC60-D873-70D2-5E27-28B7273135F4}"/>
              </a:ext>
            </a:extLst>
          </p:cNvPr>
          <p:cNvSpPr txBox="1">
            <a:spLocks/>
          </p:cNvSpPr>
          <p:nvPr/>
        </p:nvSpPr>
        <p:spPr>
          <a:xfrm>
            <a:off x="519727" y="3096804"/>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0" cap="none" spc="0" normalizeH="0" baseline="0" noProof="0" dirty="0">
                <a:ln>
                  <a:noFill/>
                </a:ln>
                <a:solidFill>
                  <a:srgbClr val="525252"/>
                </a:solidFill>
                <a:effectLst/>
                <a:uLnTx/>
                <a:uFillTx/>
                <a:latin typeface="IntelOne Text" panose="020B0503020203020204" pitchFamily="34" charset="0"/>
                <a:sym typeface="Helvetica"/>
              </a:rPr>
              <a:t>Value Props</a:t>
            </a:r>
          </a:p>
        </p:txBody>
      </p:sp>
      <p:sp>
        <p:nvSpPr>
          <p:cNvPr id="66" name="Content Placeholder 47">
            <a:extLst>
              <a:ext uri="{FF2B5EF4-FFF2-40B4-BE49-F238E27FC236}">
                <a16:creationId xmlns:a16="http://schemas.microsoft.com/office/drawing/2014/main" id="{7147671F-35D7-0AC5-88CA-9E60B60F248A}"/>
              </a:ext>
            </a:extLst>
          </p:cNvPr>
          <p:cNvSpPr txBox="1">
            <a:spLocks/>
          </p:cNvSpPr>
          <p:nvPr/>
        </p:nvSpPr>
        <p:spPr>
          <a:xfrm>
            <a:off x="519727" y="5476359"/>
            <a:ext cx="1645920"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0" cap="none" spc="0" normalizeH="0" baseline="0" noProof="0" dirty="0">
                <a:ln>
                  <a:noFill/>
                </a:ln>
                <a:solidFill>
                  <a:srgbClr val="525252"/>
                </a:solidFill>
                <a:effectLst/>
                <a:uLnTx/>
                <a:uFillTx/>
                <a:latin typeface="IntelOne Text" panose="020B0503020203020204" pitchFamily="34" charset="0"/>
                <a:sym typeface="Helvetica"/>
              </a:rPr>
              <a:t>Intel Components</a:t>
            </a:r>
          </a:p>
        </p:txBody>
      </p:sp>
      <p:sp>
        <p:nvSpPr>
          <p:cNvPr id="69" name="Content Placeholder 47">
            <a:extLst>
              <a:ext uri="{FF2B5EF4-FFF2-40B4-BE49-F238E27FC236}">
                <a16:creationId xmlns:a16="http://schemas.microsoft.com/office/drawing/2014/main" id="{94FD4030-201A-7CED-5573-11B6E0B18AF4}"/>
              </a:ext>
            </a:extLst>
          </p:cNvPr>
          <p:cNvSpPr txBox="1">
            <a:spLocks/>
          </p:cNvSpPr>
          <p:nvPr/>
        </p:nvSpPr>
        <p:spPr>
          <a:xfrm>
            <a:off x="250527" y="5689403"/>
            <a:ext cx="2841016" cy="609584"/>
          </a:xfrm>
          <a:prstGeom prst="rect">
            <a:avLst/>
          </a:prstGeom>
          <a:ln>
            <a:noFill/>
          </a:ln>
        </p:spPr>
        <p:txBody>
          <a:bodyPr lIns="0" tIns="45720" bIns="91440" numCol="1">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728" lvl="1" indent="-109728"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594" indent="-197644"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19957"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557"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09730" marR="0" lvl="1" indent="-109730" algn="l" defTabSz="914423" rtl="0" eaLnBrk="1" fontAlgn="ctr" latinLnBrk="0" hangingPunct="0">
              <a:lnSpc>
                <a:spcPct val="90000"/>
              </a:lnSpc>
              <a:spcBef>
                <a:spcPts val="0"/>
              </a:spcBef>
              <a:spcAft>
                <a:spcPts val="0"/>
              </a:spcAft>
              <a:buClrTx/>
              <a:buSzTx/>
              <a:buFont typeface="Wingdings" panose="05000000000000000000" pitchFamily="2" charset="2"/>
              <a:buChar char="§"/>
              <a:tabLst/>
              <a:defRPr/>
            </a:pPr>
            <a:r>
              <a:rPr kumimoji="0" lang="en-US" sz="1050" b="0" i="0" u="none" strike="noStrike" kern="0" cap="none" spc="0" normalizeH="0" baseline="0" noProof="0" dirty="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Intel® </a:t>
            </a:r>
            <a:r>
              <a:rPr lang="en-US" sz="1050" kern="0" dirty="0">
                <a:solidFill>
                  <a:srgbClr val="525252"/>
                </a:solidFill>
                <a:latin typeface="IntelOne Text" panose="020B0503020203020204" pitchFamily="34" charset="0"/>
                <a:ea typeface="Intel Clear" panose="020B0604020203020204" pitchFamily="34" charset="0"/>
                <a:cs typeface="Intel Clear" panose="020B0604020203020204" pitchFamily="34" charset="0"/>
                <a:sym typeface="Helvetica Neue"/>
              </a:rPr>
              <a:t>Xeon® processors</a:t>
            </a:r>
          </a:p>
          <a:p>
            <a:pPr marL="109730" marR="0" lvl="1" indent="-109730" algn="l" defTabSz="914423" rtl="0" eaLnBrk="1" fontAlgn="ctr" latinLnBrk="0" hangingPunct="0">
              <a:lnSpc>
                <a:spcPct val="90000"/>
              </a:lnSpc>
              <a:spcBef>
                <a:spcPts val="0"/>
              </a:spcBef>
              <a:spcAft>
                <a:spcPts val="0"/>
              </a:spcAft>
              <a:buClrTx/>
              <a:buSzTx/>
              <a:buFont typeface="Wingdings" panose="05000000000000000000" pitchFamily="2" charset="2"/>
              <a:buChar char="§"/>
              <a:tabLst/>
              <a:defRPr/>
            </a:pPr>
            <a:r>
              <a:rPr lang="en-US" sz="1050" kern="0" dirty="0">
                <a:solidFill>
                  <a:srgbClr val="525252"/>
                </a:solidFill>
                <a:latin typeface="IntelOne Text" panose="020B0503020203020204" pitchFamily="34" charset="0"/>
                <a:sym typeface="Helvetica Neue"/>
              </a:rPr>
              <a:t>Intel® </a:t>
            </a:r>
            <a:r>
              <a:rPr lang="en-US" sz="1050" kern="0" dirty="0" err="1">
                <a:solidFill>
                  <a:srgbClr val="525252"/>
                </a:solidFill>
                <a:latin typeface="IntelOne Text" panose="020B0503020203020204" pitchFamily="34" charset="0"/>
                <a:sym typeface="Helvetica Neue"/>
              </a:rPr>
              <a:t>FlexRAN</a:t>
            </a:r>
            <a:r>
              <a:rPr lang="en-US" sz="1050" kern="0" dirty="0">
                <a:solidFill>
                  <a:srgbClr val="525252"/>
                </a:solidFill>
                <a:latin typeface="IntelOne Text" panose="020B0503020203020204" pitchFamily="34" charset="0"/>
                <a:sym typeface="Helvetica Neue"/>
              </a:rPr>
              <a:t>™ software</a:t>
            </a:r>
          </a:p>
          <a:p>
            <a:pPr marL="109730" lvl="1" indent="-109730" defTabSz="914423" fontAlgn="ctr" hangingPunct="0">
              <a:lnSpc>
                <a:spcPct val="90000"/>
              </a:lnSpc>
              <a:buFont typeface="Wingdings" panose="05000000000000000000" pitchFamily="2" charset="2"/>
              <a:buChar char="§"/>
              <a:defRPr/>
            </a:pPr>
            <a:r>
              <a:rPr lang="en-US" sz="1050" kern="0" dirty="0">
                <a:solidFill>
                  <a:srgbClr val="525252"/>
                </a:solidFill>
                <a:latin typeface="IntelOne Text" panose="020B0503020203020204" pitchFamily="34" charset="0"/>
                <a:sym typeface="Helvetica Neue"/>
              </a:rPr>
              <a:t>Intel Smart Edge</a:t>
            </a:r>
          </a:p>
          <a:p>
            <a:pPr marL="109730" lvl="1" indent="-109730" defTabSz="914423" fontAlgn="ctr" hangingPunct="0">
              <a:lnSpc>
                <a:spcPct val="90000"/>
              </a:lnSpc>
              <a:buFont typeface="Wingdings" panose="05000000000000000000" pitchFamily="2" charset="2"/>
              <a:buChar char="§"/>
              <a:defRPr/>
            </a:pPr>
            <a:r>
              <a:rPr lang="en-US" sz="1050" kern="0" dirty="0">
                <a:solidFill>
                  <a:srgbClr val="525252"/>
                </a:solidFill>
                <a:latin typeface="IntelOne Text" panose="020B0503020203020204" pitchFamily="34" charset="0"/>
                <a:sym typeface="Helvetica Neue"/>
              </a:rPr>
              <a:t>Intel Data Plane Development Kit</a:t>
            </a:r>
          </a:p>
        </p:txBody>
      </p:sp>
      <p:sp>
        <p:nvSpPr>
          <p:cNvPr id="70" name="Rectangle 69">
            <a:extLst>
              <a:ext uri="{FF2B5EF4-FFF2-40B4-BE49-F238E27FC236}">
                <a16:creationId xmlns:a16="http://schemas.microsoft.com/office/drawing/2014/main" id="{2739B77A-CEF0-D4BC-0FAC-41C8F7522BC2}"/>
              </a:ext>
            </a:extLst>
          </p:cNvPr>
          <p:cNvSpPr/>
          <p:nvPr/>
        </p:nvSpPr>
        <p:spPr>
          <a:xfrm>
            <a:off x="724596" y="3396700"/>
            <a:ext cx="4572000"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25252"/>
                </a:solidFill>
                <a:effectLst/>
                <a:uLnTx/>
                <a:uFillTx/>
                <a:latin typeface="IntelOne Text"/>
                <a:sym typeface="Helvetica Neue"/>
              </a:rPr>
              <a:t>Streamline customer deployments </a:t>
            </a:r>
            <a:r>
              <a:rPr kumimoji="0" lang="en-US" sz="1050" i="0" u="none" strike="noStrike" kern="1200" cap="none" spc="0" normalizeH="0" baseline="0" noProof="0" dirty="0">
                <a:ln>
                  <a:noFill/>
                </a:ln>
                <a:solidFill>
                  <a:srgbClr val="525252"/>
                </a:solidFill>
                <a:effectLst/>
                <a:uLnTx/>
                <a:uFillTx/>
                <a:latin typeface="IntelOne Text"/>
                <a:sym typeface="Helvetica Neue"/>
              </a:rPr>
              <a:t>with standards-based COTS that help </a:t>
            </a:r>
            <a:r>
              <a:rPr lang="en-US" sz="1050" dirty="0">
                <a:solidFill>
                  <a:srgbClr val="525252"/>
                </a:solidFill>
                <a:latin typeface="IntelOne Text"/>
                <a:sym typeface="Helvetica Neue"/>
              </a:rPr>
              <a:t>service providers and private networks differentiate </a:t>
            </a:r>
            <a:r>
              <a:rPr kumimoji="0" lang="en-US" sz="1050" i="0" u="none" strike="noStrike" kern="1200" cap="none" spc="0" normalizeH="0" baseline="0" noProof="0" dirty="0">
                <a:ln>
                  <a:noFill/>
                </a:ln>
                <a:solidFill>
                  <a:srgbClr val="525252"/>
                </a:solidFill>
                <a:effectLst/>
                <a:uLnTx/>
                <a:uFillTx/>
                <a:latin typeface="IntelOne Text"/>
                <a:sym typeface="Helvetica Neue"/>
              </a:rPr>
              <a:t>next-generation applications at the edge of both cloud and mobile networks </a:t>
            </a:r>
          </a:p>
        </p:txBody>
      </p:sp>
      <p:sp>
        <p:nvSpPr>
          <p:cNvPr id="71" name="Rectangle 70">
            <a:extLst>
              <a:ext uri="{FF2B5EF4-FFF2-40B4-BE49-F238E27FC236}">
                <a16:creationId xmlns:a16="http://schemas.microsoft.com/office/drawing/2014/main" id="{0C1A5A11-56B9-10DD-6FD6-1EFD80649EDB}"/>
              </a:ext>
            </a:extLst>
          </p:cNvPr>
          <p:cNvSpPr/>
          <p:nvPr/>
        </p:nvSpPr>
        <p:spPr>
          <a:xfrm>
            <a:off x="724597" y="4076183"/>
            <a:ext cx="4572000"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25252"/>
                </a:solidFill>
                <a:effectLst/>
                <a:uLnTx/>
                <a:uFillTx/>
                <a:latin typeface="IntelOne Text"/>
                <a:sym typeface="Helvetica Neue"/>
              </a:rPr>
              <a:t>Offer cost-and-time-effective integration options </a:t>
            </a:r>
            <a:r>
              <a:rPr kumimoji="0" lang="en-US" sz="1050" i="0" u="none" strike="noStrike" kern="1200" cap="none" spc="0" normalizeH="0" baseline="0" noProof="0" dirty="0">
                <a:ln>
                  <a:noFill/>
                </a:ln>
                <a:solidFill>
                  <a:srgbClr val="525252"/>
                </a:solidFill>
                <a:effectLst/>
                <a:uLnTx/>
                <a:uFillTx/>
                <a:latin typeface="IntelOne Text"/>
                <a:sym typeface="Helvetica Neue"/>
              </a:rPr>
              <a:t>with a wide range of radio units designed for indoor and outdoor use, connecting to third-party 5G Core solutions</a:t>
            </a:r>
          </a:p>
        </p:txBody>
      </p:sp>
      <p:sp>
        <p:nvSpPr>
          <p:cNvPr id="72" name="Rectangle 71">
            <a:extLst>
              <a:ext uri="{FF2B5EF4-FFF2-40B4-BE49-F238E27FC236}">
                <a16:creationId xmlns:a16="http://schemas.microsoft.com/office/drawing/2014/main" id="{14AAB5CC-612E-DC0E-5041-EF25B37156C7}"/>
              </a:ext>
            </a:extLst>
          </p:cNvPr>
          <p:cNvSpPr/>
          <p:nvPr/>
        </p:nvSpPr>
        <p:spPr>
          <a:xfrm>
            <a:off x="724597" y="4755009"/>
            <a:ext cx="4572000"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50" b="1" dirty="0">
                <a:solidFill>
                  <a:srgbClr val="525252"/>
                </a:solidFill>
                <a:latin typeface="IntelOne Text"/>
                <a:sym typeface="Helvetica Neue"/>
              </a:rPr>
              <a:t>Increase the efficiency of operation and management </a:t>
            </a:r>
            <a:r>
              <a:rPr lang="en-US" sz="1050" dirty="0">
                <a:solidFill>
                  <a:srgbClr val="525252"/>
                </a:solidFill>
                <a:latin typeface="IntelOne Text"/>
                <a:sym typeface="Helvetica Neue"/>
              </a:rPr>
              <a:t>with NETCONF/YANG connections to the RAN, and REST API based interconnection to 5GC controllers and network management systems</a:t>
            </a:r>
          </a:p>
        </p:txBody>
      </p:sp>
      <p:sp>
        <p:nvSpPr>
          <p:cNvPr id="2" name="Text Placeholder 49">
            <a:extLst>
              <a:ext uri="{FF2B5EF4-FFF2-40B4-BE49-F238E27FC236}">
                <a16:creationId xmlns:a16="http://schemas.microsoft.com/office/drawing/2014/main" id="{FB0B3506-B4D2-2062-9E34-BCD87F0D1C53}"/>
              </a:ext>
            </a:extLst>
          </p:cNvPr>
          <p:cNvSpPr txBox="1">
            <a:spLocks/>
          </p:cNvSpPr>
          <p:nvPr/>
        </p:nvSpPr>
        <p:spPr>
          <a:xfrm>
            <a:off x="9626338" y="2010981"/>
            <a:ext cx="1857018" cy="980653"/>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Neue"/>
              </a:rPr>
              <a:t>Relevant Vertical: </a:t>
            </a:r>
            <a:r>
              <a:rPr kumimoji="0" lang="en-US" sz="900" b="0" i="0" u="none" strike="noStrike" kern="0" cap="none" spc="0" normalizeH="0" baseline="0" noProof="0" dirty="0">
                <a:ln>
                  <a:noFill/>
                </a:ln>
                <a:solidFill>
                  <a:srgbClr val="525252"/>
                </a:solidFill>
                <a:effectLst/>
                <a:uLnTx/>
                <a:uFillTx/>
                <a:latin typeface="IntelOne Text" panose="020B0503020203020204" pitchFamily="34" charset="0"/>
                <a:sym typeface="Helvetica Neue"/>
              </a:rPr>
              <a:t>Manufacturing</a:t>
            </a:r>
          </a:p>
          <a:p>
            <a:pPr marL="0" marR="0" lvl="1" indent="0" algn="l" defTabSz="1219169" rtl="0" eaLnBrk="1" fontAlgn="ctr" latinLnBrk="0" hangingPunct="0">
              <a:lnSpc>
                <a:spcPct val="90000"/>
              </a:lnSpc>
              <a:spcBef>
                <a:spcPts val="0"/>
              </a:spcBef>
              <a:spcAft>
                <a:spcPts val="0"/>
              </a:spcAft>
              <a:buClrTx/>
              <a:buSzTx/>
              <a:buFontTx/>
              <a:buNone/>
              <a:tabLst/>
              <a:defRPr/>
            </a:pPr>
            <a:r>
              <a:rPr lang="en-US" sz="900" b="1" dirty="0">
                <a:solidFill>
                  <a:srgbClr val="525252"/>
                </a:solidFill>
                <a:latin typeface="IntelOne Text" panose="020B0503020203020204" pitchFamily="34" charset="0"/>
                <a:sym typeface="Helvetica Neue"/>
              </a:rPr>
              <a:t>Secondary Verticals:</a:t>
            </a:r>
          </a:p>
          <a:p>
            <a:pPr marL="0" lvl="1" indent="0" defTabSz="1219169" fontAlgn="ctr" hangingPunct="0">
              <a:lnSpc>
                <a:spcPct val="90000"/>
              </a:lnSpc>
              <a:spcBef>
                <a:spcPts val="0"/>
              </a:spcBef>
              <a:buNone/>
              <a:defRPr/>
            </a:pPr>
            <a:r>
              <a:rPr kumimoji="0" lang="en-US" sz="90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Transportation, Energy, Retail, Education, Government, and  Health and Life Sciences</a:t>
            </a:r>
          </a:p>
          <a:p>
            <a:pPr marL="0" marR="0" lvl="1" indent="0" algn="l" defTabSz="1219169" rtl="0" eaLnBrk="1" fontAlgn="ctr" latinLnBrk="0" hangingPunct="0">
              <a:lnSpc>
                <a:spcPct val="90000"/>
              </a:lnSpc>
              <a:spcBef>
                <a:spcPts val="0"/>
              </a:spcBef>
              <a:spcAft>
                <a:spcPts val="0"/>
              </a:spcAft>
              <a:buClrTx/>
              <a:buSzTx/>
              <a:buFontTx/>
              <a:buNone/>
              <a:tabLst/>
              <a:defRPr/>
            </a:pPr>
            <a:endParaRPr kumimoji="0" lang="en-US" sz="900" i="0" u="none" strike="noStrike" kern="1200" cap="none" spc="0" normalizeH="0" baseline="0" noProof="0" dirty="0">
              <a:ln>
                <a:noFill/>
              </a:ln>
              <a:solidFill>
                <a:srgbClr val="525252"/>
              </a:solidFill>
              <a:effectLst/>
              <a:uLnTx/>
              <a:uFillTx/>
              <a:latin typeface="IntelOne Text" panose="020B0503020203020204" pitchFamily="34" charset="0"/>
              <a:sym typeface="Helvetica Neue"/>
            </a:endParaRPr>
          </a:p>
        </p:txBody>
      </p:sp>
      <p:cxnSp>
        <p:nvCxnSpPr>
          <p:cNvPr id="3" name="Straight Connector 2">
            <a:extLst>
              <a:ext uri="{FF2B5EF4-FFF2-40B4-BE49-F238E27FC236}">
                <a16:creationId xmlns:a16="http://schemas.microsoft.com/office/drawing/2014/main" id="{7CF3D229-AEC7-44AD-20D4-1971BBE58A25}"/>
              </a:ext>
              <a:ext uri="{C183D7F6-B498-43B3-948B-1728B52AA6E4}">
                <adec:decorative xmlns:adec="http://schemas.microsoft.com/office/drawing/2017/decorative" val="1"/>
              </a:ext>
            </a:extLst>
          </p:cNvPr>
          <p:cNvCxnSpPr>
            <a:cxnSpLocks/>
          </p:cNvCxnSpPr>
          <p:nvPr/>
        </p:nvCxnSpPr>
        <p:spPr>
          <a:xfrm>
            <a:off x="9767134" y="2957362"/>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4" name="Straight Connector 3">
            <a:extLst>
              <a:ext uri="{FF2B5EF4-FFF2-40B4-BE49-F238E27FC236}">
                <a16:creationId xmlns:a16="http://schemas.microsoft.com/office/drawing/2014/main" id="{832D9EBA-89BE-2E3C-DE6D-3FCA1D1EEFB8}"/>
              </a:ext>
              <a:ext uri="{C183D7F6-B498-43B3-948B-1728B52AA6E4}">
                <adec:decorative xmlns:adec="http://schemas.microsoft.com/office/drawing/2017/decorative" val="1"/>
              </a:ext>
            </a:extLst>
          </p:cNvPr>
          <p:cNvCxnSpPr>
            <a:cxnSpLocks/>
          </p:cNvCxnSpPr>
          <p:nvPr/>
        </p:nvCxnSpPr>
        <p:spPr>
          <a:xfrm>
            <a:off x="9776099" y="4501821"/>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5" name="Text Placeholder 49">
            <a:extLst>
              <a:ext uri="{FF2B5EF4-FFF2-40B4-BE49-F238E27FC236}">
                <a16:creationId xmlns:a16="http://schemas.microsoft.com/office/drawing/2014/main" id="{6631CA09-26F6-3817-8456-091768C22772}"/>
              </a:ext>
            </a:extLst>
          </p:cNvPr>
          <p:cNvSpPr txBox="1">
            <a:spLocks/>
          </p:cNvSpPr>
          <p:nvPr/>
        </p:nvSpPr>
        <p:spPr>
          <a:xfrm>
            <a:off x="9626338" y="4549547"/>
            <a:ext cx="1857018" cy="276999"/>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t>Geo Availability: </a:t>
            </a:r>
          </a:p>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b="0" i="0" u="none" strike="noStrike" kern="0" cap="none" spc="0" normalizeH="0" baseline="0" noProof="0" dirty="0">
                <a:ln>
                  <a:noFill/>
                </a:ln>
                <a:solidFill>
                  <a:srgbClr val="525252"/>
                </a:solidFill>
                <a:effectLst/>
                <a:uLnTx/>
                <a:uFillTx/>
                <a:latin typeface="IntelOne Text"/>
                <a:sym typeface="Helvetica"/>
              </a:rPr>
              <a:t>APJ, Americas, EMEA</a:t>
            </a:r>
          </a:p>
        </p:txBody>
      </p:sp>
      <p:cxnSp>
        <p:nvCxnSpPr>
          <p:cNvPr id="6" name="Straight Connector 5">
            <a:extLst>
              <a:ext uri="{FF2B5EF4-FFF2-40B4-BE49-F238E27FC236}">
                <a16:creationId xmlns:a16="http://schemas.microsoft.com/office/drawing/2014/main" id="{D93E95E4-1597-C9CD-2772-086E7C97CCA3}"/>
              </a:ext>
              <a:ext uri="{C183D7F6-B498-43B3-948B-1728B52AA6E4}">
                <adec:decorative xmlns:adec="http://schemas.microsoft.com/office/drawing/2017/decorative" val="1"/>
              </a:ext>
            </a:extLst>
          </p:cNvPr>
          <p:cNvCxnSpPr>
            <a:cxnSpLocks/>
          </p:cNvCxnSpPr>
          <p:nvPr/>
        </p:nvCxnSpPr>
        <p:spPr>
          <a:xfrm>
            <a:off x="9751364" y="5855980"/>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8" name="Text Placeholder 49">
            <a:extLst>
              <a:ext uri="{FF2B5EF4-FFF2-40B4-BE49-F238E27FC236}">
                <a16:creationId xmlns:a16="http://schemas.microsoft.com/office/drawing/2014/main" id="{49545B67-FCAB-ED9B-C88C-E432C29CECC2}"/>
              </a:ext>
            </a:extLst>
          </p:cNvPr>
          <p:cNvSpPr txBox="1">
            <a:spLocks/>
          </p:cNvSpPr>
          <p:nvPr/>
        </p:nvSpPr>
        <p:spPr>
          <a:xfrm>
            <a:off x="9626337" y="3030941"/>
            <a:ext cx="1996545" cy="1384995"/>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Neue"/>
              </a:rPr>
              <a:t>Relevant Use Case: </a:t>
            </a:r>
          </a:p>
          <a:p>
            <a:pPr marL="0" marR="0" lvl="0" indent="0" algn="l" defTabSz="609600" rtl="0" eaLnBrk="1" fontAlgn="auto" latinLnBrk="0" hangingPunct="1">
              <a:lnSpc>
                <a:spcPct val="100000"/>
              </a:lnSpc>
              <a:spcBef>
                <a:spcPts val="0"/>
              </a:spcBef>
              <a:buClrTx/>
              <a:buSzTx/>
              <a:buFont typeface="Wingdings" pitchFamily="2" charset="2"/>
              <a:buNone/>
              <a:tabLst/>
              <a:defRPr/>
            </a:pPr>
            <a:r>
              <a:rPr lang="en-US" sz="900" b="0" kern="0" dirty="0">
                <a:solidFill>
                  <a:srgbClr val="525252"/>
                </a:solidFill>
                <a:latin typeface="IntelOne Text"/>
                <a:sym typeface="Helvetica Neue"/>
              </a:rPr>
              <a:t>Product Inspection</a:t>
            </a:r>
          </a:p>
          <a:p>
            <a:pPr marL="0" marR="0" lvl="0" indent="0" algn="l" defTabSz="609600" rtl="0" eaLnBrk="1" fontAlgn="auto" latinLnBrk="0" hangingPunct="1">
              <a:lnSpc>
                <a:spcPct val="100000"/>
              </a:lnSpc>
              <a:spcBef>
                <a:spcPts val="0"/>
              </a:spcBef>
              <a:buClrTx/>
              <a:buSzTx/>
              <a:buFont typeface="Wingdings" pitchFamily="2" charset="2"/>
              <a:buNone/>
              <a:tabLst/>
              <a:defRPr/>
            </a:pPr>
            <a:endParaRPr lang="en-US" sz="900" b="0" kern="0" dirty="0">
              <a:solidFill>
                <a:srgbClr val="525252"/>
              </a:solidFill>
              <a:latin typeface="IntelOne Text"/>
              <a:sym typeface="Helvetica Neue"/>
            </a:endParaRPr>
          </a:p>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i="0" u="none" strike="noStrike" kern="0" cap="none" spc="0" normalizeH="0" baseline="0" noProof="0" dirty="0">
                <a:ln>
                  <a:noFill/>
                </a:ln>
                <a:solidFill>
                  <a:srgbClr val="525252"/>
                </a:solidFill>
                <a:effectLst/>
                <a:uLnTx/>
                <a:uFillTx/>
                <a:latin typeface="IntelOne Text"/>
                <a:sym typeface="Helvetica Neue"/>
              </a:rPr>
              <a:t>S</a:t>
            </a:r>
            <a:r>
              <a:rPr lang="en-US" sz="900" kern="0" dirty="0" err="1">
                <a:solidFill>
                  <a:srgbClr val="525252"/>
                </a:solidFill>
                <a:latin typeface="IntelOne Text"/>
                <a:sym typeface="Helvetica Neue"/>
              </a:rPr>
              <a:t>econdary</a:t>
            </a:r>
            <a:r>
              <a:rPr lang="en-US" sz="900" kern="0" dirty="0">
                <a:solidFill>
                  <a:srgbClr val="525252"/>
                </a:solidFill>
                <a:latin typeface="IntelOne Text"/>
                <a:sym typeface="Helvetica Neue"/>
              </a:rPr>
              <a:t> Use Cases: </a:t>
            </a:r>
          </a:p>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b="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Asset &amp; Operations Optimization, Machine Condition Monitoring, Environmental Monitoring, Energy Monitoring &amp; Management, Control Optimization &amp; Autonomy, Logistics &amp; Tracking</a:t>
            </a:r>
            <a:endParaRPr kumimoji="0" lang="en-US" sz="900" b="0" i="0" u="none" strike="noStrike" kern="0" cap="none" spc="0" normalizeH="0" baseline="0" noProof="0" dirty="0">
              <a:ln>
                <a:noFill/>
              </a:ln>
              <a:solidFill>
                <a:srgbClr val="525252"/>
              </a:solidFill>
              <a:effectLst/>
              <a:uLnTx/>
              <a:uFillTx/>
              <a:latin typeface="IntelOne Text" panose="020B0503020203020204" pitchFamily="34" charset="0"/>
              <a:sym typeface="Helvetica Neue"/>
            </a:endParaRPr>
          </a:p>
        </p:txBody>
      </p:sp>
      <p:sp>
        <p:nvSpPr>
          <p:cNvPr id="9" name="Text Placeholder 49">
            <a:extLst>
              <a:ext uri="{FF2B5EF4-FFF2-40B4-BE49-F238E27FC236}">
                <a16:creationId xmlns:a16="http://schemas.microsoft.com/office/drawing/2014/main" id="{5B7CB780-86C2-6E3D-5C40-2BCC489C39F0}"/>
              </a:ext>
            </a:extLst>
          </p:cNvPr>
          <p:cNvSpPr txBox="1">
            <a:spLocks/>
          </p:cNvSpPr>
          <p:nvPr/>
        </p:nvSpPr>
        <p:spPr>
          <a:xfrm>
            <a:off x="9626338" y="4948852"/>
            <a:ext cx="1914788" cy="415498"/>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t>Sales Contact:</a:t>
            </a:r>
          </a:p>
          <a:p>
            <a:pPr marL="0" marR="0" lvl="0" indent="0" algn="l" defTabSz="609600" rtl="0" eaLnBrk="1" fontAlgn="auto" latinLnBrk="0" hangingPunct="1">
              <a:lnSpc>
                <a:spcPct val="100000"/>
              </a:lnSpc>
              <a:spcBef>
                <a:spcPts val="0"/>
              </a:spcBef>
              <a:buClrTx/>
              <a:buSzTx/>
              <a:buFont typeface="Wingdings" pitchFamily="2" charset="2"/>
              <a:buNone/>
              <a:tabLst/>
              <a:defRPr/>
            </a:pPr>
            <a:r>
              <a:rPr lang="en-US" sz="900" b="0" kern="0" dirty="0">
                <a:solidFill>
                  <a:srgbClr val="525252"/>
                </a:solidFill>
                <a:latin typeface="IntelOne Text"/>
              </a:rPr>
              <a:t>Rahul Kumar Dubey</a:t>
            </a:r>
            <a:r>
              <a:rPr kumimoji="0" lang="en-US" sz="900" b="0" i="0" u="none" strike="noStrike" kern="0" cap="none" spc="0" normalizeH="0" baseline="0" noProof="0" dirty="0">
                <a:ln>
                  <a:noFill/>
                </a:ln>
                <a:solidFill>
                  <a:srgbClr val="525252"/>
                </a:solidFill>
                <a:effectLst/>
                <a:uLnTx/>
                <a:uFillTx/>
                <a:latin typeface="IntelOne Text"/>
                <a:sym typeface="Helvetica"/>
              </a:rPr>
              <a:t> </a:t>
            </a:r>
            <a:r>
              <a:rPr kumimoji="0" lang="en-US" sz="900" b="0" i="0" u="none" strike="noStrike" kern="0" cap="none" spc="0" normalizeH="0" baseline="0" noProof="0" dirty="0">
                <a:ln>
                  <a:noFill/>
                </a:ln>
                <a:effectLst/>
                <a:uLnTx/>
                <a:uFillTx/>
                <a:latin typeface="IntelOne Text"/>
                <a:sym typeface="Helvetica"/>
              </a:rPr>
              <a:t>- </a:t>
            </a:r>
            <a:r>
              <a:rPr lang="en-US" sz="900" b="0" kern="0" dirty="0">
                <a:latin typeface="IntelOne Text" panose="020B0503020203020204" pitchFamily="34" charset="0"/>
                <a:sym typeface="Helvetica Neue"/>
                <a:hlinkClick r:id="rId7">
                  <a:extLst>
                    <a:ext uri="{A12FA001-AC4F-418D-AE19-62706E023703}">
                      <ahyp:hlinkClr xmlns:ahyp="http://schemas.microsoft.com/office/drawing/2018/hyperlinkcolor" val="tx"/>
                    </a:ext>
                  </a:extLst>
                </a:hlinkClick>
              </a:rPr>
              <a:t>rahulkumar.d@lekhawireless.com</a:t>
            </a:r>
            <a:r>
              <a:rPr kumimoji="0" lang="en-US" sz="900" b="0" i="0" u="none" strike="noStrike" kern="0" cap="none" spc="0" normalizeH="0" baseline="0" noProof="0" dirty="0">
                <a:ln>
                  <a:noFill/>
                </a:ln>
                <a:effectLst/>
                <a:uLnTx/>
                <a:uFillTx/>
                <a:latin typeface="IntelOne Text"/>
                <a:sym typeface="Helvetica"/>
              </a:rPr>
              <a:t> </a:t>
            </a:r>
          </a:p>
        </p:txBody>
      </p:sp>
      <p:cxnSp>
        <p:nvCxnSpPr>
          <p:cNvPr id="11" name="Straight Connector 10">
            <a:extLst>
              <a:ext uri="{FF2B5EF4-FFF2-40B4-BE49-F238E27FC236}">
                <a16:creationId xmlns:a16="http://schemas.microsoft.com/office/drawing/2014/main" id="{45F6424F-0812-B31D-7912-0E1E070A4DC5}"/>
              </a:ext>
              <a:ext uri="{C183D7F6-B498-43B3-948B-1728B52AA6E4}">
                <adec:decorative xmlns:adec="http://schemas.microsoft.com/office/drawing/2017/decorative" val="1"/>
              </a:ext>
            </a:extLst>
          </p:cNvPr>
          <p:cNvCxnSpPr>
            <a:cxnSpLocks/>
          </p:cNvCxnSpPr>
          <p:nvPr/>
        </p:nvCxnSpPr>
        <p:spPr>
          <a:xfrm>
            <a:off x="9841231" y="4902858"/>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26" name="TextBox 25">
            <a:extLst>
              <a:ext uri="{FF2B5EF4-FFF2-40B4-BE49-F238E27FC236}">
                <a16:creationId xmlns:a16="http://schemas.microsoft.com/office/drawing/2014/main" id="{F35A8F79-606F-7460-CB83-870FC1ABB31C}"/>
              </a:ext>
              <a:ext uri="{C183D7F6-B498-43B3-948B-1728B52AA6E4}">
                <adec:decorative xmlns:adec="http://schemas.microsoft.com/office/drawing/2017/decorative" val="1"/>
              </a:ext>
            </a:extLst>
          </p:cNvPr>
          <p:cNvSpPr txBox="1"/>
          <p:nvPr/>
        </p:nvSpPr>
        <p:spPr>
          <a:xfrm>
            <a:off x="365081" y="21544"/>
            <a:ext cx="2106470" cy="913053"/>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l" defTabSz="2438338" rtl="0" fontAlgn="auto" latinLnBrk="0" hangingPunct="0">
              <a:lnSpc>
                <a:spcPct val="100000"/>
              </a:lnSpc>
              <a:spcBef>
                <a:spcPts val="0"/>
              </a:spcBef>
              <a:spcAft>
                <a:spcPts val="0"/>
              </a:spcAft>
              <a:buClrTx/>
              <a:buSzTx/>
              <a:buFontTx/>
              <a:buNone/>
              <a:tabLst/>
            </a:pPr>
            <a:endParaRPr kumimoji="0" lang="en-US" b="0" i="0" u="none" strike="noStrike" cap="none" spc="0" normalizeH="0" baseline="0" dirty="0" err="1">
              <a:ln>
                <a:noFill/>
              </a:ln>
              <a:solidFill>
                <a:schemeClr val="tx2"/>
              </a:solidFill>
              <a:effectLst/>
              <a:uFillTx/>
              <a:latin typeface="+mn-lt"/>
              <a:ea typeface="+mn-ea"/>
              <a:cs typeface="+mn-cs"/>
              <a:sym typeface="Helvetica Neue"/>
            </a:endParaRPr>
          </a:p>
        </p:txBody>
      </p:sp>
      <p:grpSp>
        <p:nvGrpSpPr>
          <p:cNvPr id="12" name="Graphic 8">
            <a:extLst>
              <a:ext uri="{FF2B5EF4-FFF2-40B4-BE49-F238E27FC236}">
                <a16:creationId xmlns:a16="http://schemas.microsoft.com/office/drawing/2014/main" id="{9DDC332A-A9DD-ECD1-43DE-7A3482D182A1}"/>
              </a:ext>
              <a:ext uri="{C183D7F6-B498-43B3-948B-1728B52AA6E4}">
                <adec:decorative xmlns:adec="http://schemas.microsoft.com/office/drawing/2017/decorative" val="1"/>
              </a:ext>
            </a:extLst>
          </p:cNvPr>
          <p:cNvGrpSpPr/>
          <p:nvPr/>
        </p:nvGrpSpPr>
        <p:grpSpPr>
          <a:xfrm>
            <a:off x="422661" y="75638"/>
            <a:ext cx="1957232" cy="788829"/>
            <a:chOff x="4294230" y="2704031"/>
            <a:chExt cx="3600234" cy="1451013"/>
          </a:xfrm>
        </p:grpSpPr>
        <p:sp>
          <p:nvSpPr>
            <p:cNvPr id="13" name="Freeform: Shape 12">
              <a:extLst>
                <a:ext uri="{FF2B5EF4-FFF2-40B4-BE49-F238E27FC236}">
                  <a16:creationId xmlns:a16="http://schemas.microsoft.com/office/drawing/2014/main" id="{39AD020D-212B-383F-9521-0047D8995221}"/>
                </a:ext>
              </a:extLst>
            </p:cNvPr>
            <p:cNvSpPr/>
            <p:nvPr/>
          </p:nvSpPr>
          <p:spPr>
            <a:xfrm>
              <a:off x="6524057" y="3375633"/>
              <a:ext cx="208535" cy="348825"/>
            </a:xfrm>
            <a:custGeom>
              <a:avLst/>
              <a:gdLst>
                <a:gd name="connsiteX0" fmla="*/ 13607 w 208535"/>
                <a:gd name="connsiteY0" fmla="*/ 348825 h 348825"/>
                <a:gd name="connsiteX1" fmla="*/ 34114 w 208535"/>
                <a:gd name="connsiteY1" fmla="*/ 276628 h 348825"/>
                <a:gd name="connsiteX2" fmla="*/ 102987 w 208535"/>
                <a:gd name="connsiteY2" fmla="*/ 170404 h 348825"/>
                <a:gd name="connsiteX3" fmla="*/ 109400 w 208535"/>
                <a:gd name="connsiteY3" fmla="*/ 228170 h 348825"/>
                <a:gd name="connsiteX4" fmla="*/ 208536 w 208535"/>
                <a:gd name="connsiteY4" fmla="*/ 0 h 348825"/>
                <a:gd name="connsiteX5" fmla="*/ 95695 w 208535"/>
                <a:gd name="connsiteY5" fmla="*/ 17463 h 348825"/>
                <a:gd name="connsiteX6" fmla="*/ 96321 w 208535"/>
                <a:gd name="connsiteY6" fmla="*/ 65041 h 348825"/>
                <a:gd name="connsiteX7" fmla="*/ 26314 w 208535"/>
                <a:gd name="connsiteY7" fmla="*/ 163090 h 348825"/>
                <a:gd name="connsiteX8" fmla="*/ 0 w 208535"/>
                <a:gd name="connsiteY8" fmla="*/ 235327 h 348825"/>
                <a:gd name="connsiteX9" fmla="*/ 13607 w 208535"/>
                <a:gd name="connsiteY9" fmla="*/ 348825 h 34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535" h="348825">
                  <a:moveTo>
                    <a:pt x="13607" y="348825"/>
                  </a:moveTo>
                  <a:cubicBezTo>
                    <a:pt x="15894" y="327784"/>
                    <a:pt x="22619" y="303868"/>
                    <a:pt x="34114" y="276628"/>
                  </a:cubicBezTo>
                  <a:cubicBezTo>
                    <a:pt x="50946" y="245026"/>
                    <a:pt x="73761" y="210121"/>
                    <a:pt x="102987" y="170404"/>
                  </a:cubicBezTo>
                  <a:cubicBezTo>
                    <a:pt x="104825" y="189842"/>
                    <a:pt x="106976" y="209025"/>
                    <a:pt x="109400" y="228170"/>
                  </a:cubicBezTo>
                  <a:cubicBezTo>
                    <a:pt x="136691" y="155503"/>
                    <a:pt x="169847" y="78964"/>
                    <a:pt x="208536" y="0"/>
                  </a:cubicBezTo>
                  <a:cubicBezTo>
                    <a:pt x="163689" y="5984"/>
                    <a:pt x="126271" y="12222"/>
                    <a:pt x="95695" y="17463"/>
                  </a:cubicBezTo>
                  <a:cubicBezTo>
                    <a:pt x="95695" y="33166"/>
                    <a:pt x="95773" y="49553"/>
                    <a:pt x="96321" y="65041"/>
                  </a:cubicBezTo>
                  <a:cubicBezTo>
                    <a:pt x="67388" y="100846"/>
                    <a:pt x="44124" y="133894"/>
                    <a:pt x="26314" y="163090"/>
                  </a:cubicBezTo>
                  <a:cubicBezTo>
                    <a:pt x="13294" y="190311"/>
                    <a:pt x="4692" y="214814"/>
                    <a:pt x="0" y="235327"/>
                  </a:cubicBezTo>
                  <a:cubicBezTo>
                    <a:pt x="2913" y="272462"/>
                    <a:pt x="7468" y="310302"/>
                    <a:pt x="13607" y="348825"/>
                  </a:cubicBezTo>
                  <a:close/>
                </a:path>
              </a:pathLst>
            </a:custGeom>
            <a:solidFill>
              <a:srgbClr val="F08143"/>
            </a:solidFill>
            <a:ln w="1955" cap="flat">
              <a:noFill/>
              <a:prstDash val="solid"/>
              <a:miter/>
            </a:ln>
          </p:spPr>
          <p:txBody>
            <a:bodyPr rtlCol="0" anchor="ctr"/>
            <a:lstStyle/>
            <a:p>
              <a:endParaRPr lang="en-IN" dirty="0"/>
            </a:p>
          </p:txBody>
        </p:sp>
        <p:sp>
          <p:nvSpPr>
            <p:cNvPr id="14" name="Freeform: Shape 13">
              <a:extLst>
                <a:ext uri="{FF2B5EF4-FFF2-40B4-BE49-F238E27FC236}">
                  <a16:creationId xmlns:a16="http://schemas.microsoft.com/office/drawing/2014/main" id="{34B6F58A-A20E-08DF-DA7A-6CADFAF81CF5}"/>
                </a:ext>
              </a:extLst>
            </p:cNvPr>
            <p:cNvSpPr/>
            <p:nvPr/>
          </p:nvSpPr>
          <p:spPr>
            <a:xfrm>
              <a:off x="6671813" y="3434788"/>
              <a:ext cx="217626" cy="720256"/>
            </a:xfrm>
            <a:custGeom>
              <a:avLst/>
              <a:gdLst>
                <a:gd name="connsiteX0" fmla="*/ 166054 w 217626"/>
                <a:gd name="connsiteY0" fmla="*/ 720256 h 720256"/>
                <a:gd name="connsiteX1" fmla="*/ 149828 w 217626"/>
                <a:gd name="connsiteY1" fmla="*/ 233411 h 720256"/>
                <a:gd name="connsiteX2" fmla="*/ 217626 w 217626"/>
                <a:gd name="connsiteY2" fmla="*/ 237791 h 720256"/>
                <a:gd name="connsiteX3" fmla="*/ 136358 w 217626"/>
                <a:gd name="connsiteY3" fmla="*/ 0 h 720256"/>
                <a:gd name="connsiteX4" fmla="*/ 0 w 217626"/>
                <a:gd name="connsiteY4" fmla="*/ 221756 h 720256"/>
                <a:gd name="connsiteX5" fmla="*/ 42032 w 217626"/>
                <a:gd name="connsiteY5" fmla="*/ 225373 h 720256"/>
                <a:gd name="connsiteX6" fmla="*/ 36616 w 217626"/>
                <a:gd name="connsiteY6" fmla="*/ 630889 h 720256"/>
                <a:gd name="connsiteX7" fmla="*/ 166054 w 217626"/>
                <a:gd name="connsiteY7" fmla="*/ 720256 h 72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626" h="720256">
                  <a:moveTo>
                    <a:pt x="166054" y="720256"/>
                  </a:moveTo>
                  <a:cubicBezTo>
                    <a:pt x="131999" y="557870"/>
                    <a:pt x="125254" y="393685"/>
                    <a:pt x="149828" y="233411"/>
                  </a:cubicBezTo>
                  <a:cubicBezTo>
                    <a:pt x="171117" y="234701"/>
                    <a:pt x="193893" y="236363"/>
                    <a:pt x="217626" y="237791"/>
                  </a:cubicBezTo>
                  <a:cubicBezTo>
                    <a:pt x="185682" y="151944"/>
                    <a:pt x="158743" y="72687"/>
                    <a:pt x="136358" y="0"/>
                  </a:cubicBezTo>
                  <a:cubicBezTo>
                    <a:pt x="83144" y="78768"/>
                    <a:pt x="37653" y="153391"/>
                    <a:pt x="0" y="221756"/>
                  </a:cubicBezTo>
                  <a:cubicBezTo>
                    <a:pt x="13216" y="222734"/>
                    <a:pt x="27096" y="224239"/>
                    <a:pt x="42032" y="225373"/>
                  </a:cubicBezTo>
                  <a:cubicBezTo>
                    <a:pt x="21290" y="361458"/>
                    <a:pt x="7370" y="494961"/>
                    <a:pt x="36616" y="630889"/>
                  </a:cubicBezTo>
                  <a:cubicBezTo>
                    <a:pt x="70066" y="658169"/>
                    <a:pt x="119956" y="691275"/>
                    <a:pt x="166054" y="720256"/>
                  </a:cubicBezTo>
                  <a:close/>
                </a:path>
              </a:pathLst>
            </a:custGeom>
            <a:solidFill>
              <a:srgbClr val="F08143"/>
            </a:solidFill>
            <a:ln w="1955" cap="flat">
              <a:noFill/>
              <a:prstDash val="solid"/>
              <a:miter/>
            </a:ln>
          </p:spPr>
          <p:txBody>
            <a:bodyPr rtlCol="0" anchor="ctr"/>
            <a:lstStyle/>
            <a:p>
              <a:endParaRPr lang="en-IN"/>
            </a:p>
          </p:txBody>
        </p:sp>
        <p:grpSp>
          <p:nvGrpSpPr>
            <p:cNvPr id="15" name="Graphic 8">
              <a:extLst>
                <a:ext uri="{FF2B5EF4-FFF2-40B4-BE49-F238E27FC236}">
                  <a16:creationId xmlns:a16="http://schemas.microsoft.com/office/drawing/2014/main" id="{63779353-D6D6-57E5-E5C1-47D09AFB447B}"/>
                </a:ext>
              </a:extLst>
            </p:cNvPr>
            <p:cNvGrpSpPr/>
            <p:nvPr/>
          </p:nvGrpSpPr>
          <p:grpSpPr>
            <a:xfrm>
              <a:off x="4294230" y="2704031"/>
              <a:ext cx="3600234" cy="1231917"/>
              <a:chOff x="4294230" y="2704031"/>
              <a:chExt cx="3600234" cy="1231917"/>
            </a:xfrm>
          </p:grpSpPr>
          <p:sp>
            <p:nvSpPr>
              <p:cNvPr id="16" name="Freeform: Shape 15">
                <a:extLst>
                  <a:ext uri="{FF2B5EF4-FFF2-40B4-BE49-F238E27FC236}">
                    <a16:creationId xmlns:a16="http://schemas.microsoft.com/office/drawing/2014/main" id="{76370745-8A89-2B71-FD83-7D58FBE90F37}"/>
                  </a:ext>
                </a:extLst>
              </p:cNvPr>
              <p:cNvSpPr/>
              <p:nvPr/>
            </p:nvSpPr>
            <p:spPr>
              <a:xfrm>
                <a:off x="6860799" y="2704031"/>
                <a:ext cx="207323" cy="463848"/>
              </a:xfrm>
              <a:custGeom>
                <a:avLst/>
                <a:gdLst>
                  <a:gd name="connsiteX0" fmla="*/ 0 w 207323"/>
                  <a:gd name="connsiteY0" fmla="*/ 308620 h 463848"/>
                  <a:gd name="connsiteX1" fmla="*/ 99253 w 207323"/>
                  <a:gd name="connsiteY1" fmla="*/ 83325 h 463848"/>
                  <a:gd name="connsiteX2" fmla="*/ 93467 w 207323"/>
                  <a:gd name="connsiteY2" fmla="*/ 25461 h 463848"/>
                  <a:gd name="connsiteX3" fmla="*/ 207324 w 207323"/>
                  <a:gd name="connsiteY3" fmla="*/ 0 h 463848"/>
                  <a:gd name="connsiteX4" fmla="*/ 136535 w 207323"/>
                  <a:gd name="connsiteY4" fmla="*/ 286972 h 463848"/>
                  <a:gd name="connsiteX5" fmla="*/ 120465 w 207323"/>
                  <a:gd name="connsiteY5" fmla="*/ 214266 h 463848"/>
                  <a:gd name="connsiteX6" fmla="*/ 38591 w 207323"/>
                  <a:gd name="connsiteY6" fmla="*/ 463849 h 463848"/>
                  <a:gd name="connsiteX7" fmla="*/ 0 w 207323"/>
                  <a:gd name="connsiteY7" fmla="*/ 308620 h 46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323" h="463848">
                    <a:moveTo>
                      <a:pt x="0" y="308620"/>
                    </a:moveTo>
                    <a:cubicBezTo>
                      <a:pt x="15190" y="225452"/>
                      <a:pt x="55404" y="154486"/>
                      <a:pt x="99253" y="83325"/>
                    </a:cubicBezTo>
                    <a:cubicBezTo>
                      <a:pt x="96966" y="63730"/>
                      <a:pt x="95207" y="44038"/>
                      <a:pt x="93467" y="25461"/>
                    </a:cubicBezTo>
                    <a:cubicBezTo>
                      <a:pt x="125450" y="17678"/>
                      <a:pt x="163220" y="8819"/>
                      <a:pt x="207324" y="0"/>
                    </a:cubicBezTo>
                    <a:cubicBezTo>
                      <a:pt x="179055" y="95468"/>
                      <a:pt x="155146" y="191523"/>
                      <a:pt x="136535" y="286972"/>
                    </a:cubicBezTo>
                    <a:cubicBezTo>
                      <a:pt x="130709" y="262215"/>
                      <a:pt x="125450" y="238006"/>
                      <a:pt x="120465" y="214266"/>
                    </a:cubicBezTo>
                    <a:cubicBezTo>
                      <a:pt x="80368" y="292369"/>
                      <a:pt x="38825" y="373934"/>
                      <a:pt x="38591" y="463849"/>
                    </a:cubicBezTo>
                    <a:cubicBezTo>
                      <a:pt x="22326" y="410561"/>
                      <a:pt x="9658" y="359013"/>
                      <a:pt x="0" y="308620"/>
                    </a:cubicBezTo>
                    <a:close/>
                  </a:path>
                </a:pathLst>
              </a:custGeom>
              <a:solidFill>
                <a:srgbClr val="0094D6"/>
              </a:solidFill>
              <a:ln w="1955" cap="flat">
                <a:no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684F4766-22AD-4699-BC98-C583485823CB}"/>
                  </a:ext>
                </a:extLst>
              </p:cNvPr>
              <p:cNvSpPr/>
              <p:nvPr/>
            </p:nvSpPr>
            <p:spPr>
              <a:xfrm>
                <a:off x="6604973" y="3078590"/>
                <a:ext cx="182906" cy="229342"/>
              </a:xfrm>
              <a:custGeom>
                <a:avLst/>
                <a:gdLst>
                  <a:gd name="connsiteX0" fmla="*/ 0 w 182906"/>
                  <a:gd name="connsiteY0" fmla="*/ 136925 h 229342"/>
                  <a:gd name="connsiteX1" fmla="*/ 23460 w 182906"/>
                  <a:gd name="connsiteY1" fmla="*/ 149362 h 229342"/>
                  <a:gd name="connsiteX2" fmla="*/ 69655 w 182906"/>
                  <a:gd name="connsiteY2" fmla="*/ 171792 h 229342"/>
                  <a:gd name="connsiteX3" fmla="*/ 38356 w 182906"/>
                  <a:gd name="connsiteY3" fmla="*/ 229343 h 229342"/>
                  <a:gd name="connsiteX4" fmla="*/ 171489 w 182906"/>
                  <a:gd name="connsiteY4" fmla="*/ 151161 h 229342"/>
                  <a:gd name="connsiteX5" fmla="*/ 182906 w 182906"/>
                  <a:gd name="connsiteY5" fmla="*/ 0 h 229342"/>
                  <a:gd name="connsiteX6" fmla="*/ 141950 w 182906"/>
                  <a:gd name="connsiteY6" fmla="*/ 56984 h 229342"/>
                  <a:gd name="connsiteX7" fmla="*/ 95285 w 182906"/>
                  <a:gd name="connsiteY7" fmla="*/ 29978 h 229342"/>
                  <a:gd name="connsiteX8" fmla="*/ 70066 w 182906"/>
                  <a:gd name="connsiteY8" fmla="*/ 15957 h 229342"/>
                  <a:gd name="connsiteX9" fmla="*/ 0 w 182906"/>
                  <a:gd name="connsiteY9" fmla="*/ 136925 h 22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906" h="229342">
                    <a:moveTo>
                      <a:pt x="0" y="136925"/>
                    </a:moveTo>
                    <a:cubicBezTo>
                      <a:pt x="5728" y="140484"/>
                      <a:pt x="13607" y="144043"/>
                      <a:pt x="23460" y="149362"/>
                    </a:cubicBezTo>
                    <a:cubicBezTo>
                      <a:pt x="36186" y="155072"/>
                      <a:pt x="51279" y="162738"/>
                      <a:pt x="69655" y="171792"/>
                    </a:cubicBezTo>
                    <a:cubicBezTo>
                      <a:pt x="58727" y="191210"/>
                      <a:pt x="48385" y="210101"/>
                      <a:pt x="38356" y="229343"/>
                    </a:cubicBezTo>
                    <a:cubicBezTo>
                      <a:pt x="75149" y="205212"/>
                      <a:pt x="119253" y="179165"/>
                      <a:pt x="171489" y="151161"/>
                    </a:cubicBezTo>
                    <a:cubicBezTo>
                      <a:pt x="173757" y="94999"/>
                      <a:pt x="177452" y="44938"/>
                      <a:pt x="182906" y="0"/>
                    </a:cubicBezTo>
                    <a:cubicBezTo>
                      <a:pt x="169045" y="18851"/>
                      <a:pt x="155361" y="37820"/>
                      <a:pt x="141950" y="56984"/>
                    </a:cubicBezTo>
                    <a:cubicBezTo>
                      <a:pt x="123456" y="46248"/>
                      <a:pt x="108305" y="36842"/>
                      <a:pt x="95285" y="29978"/>
                    </a:cubicBezTo>
                    <a:cubicBezTo>
                      <a:pt x="84943" y="23994"/>
                      <a:pt x="76635" y="19359"/>
                      <a:pt x="70066" y="15957"/>
                    </a:cubicBezTo>
                    <a:cubicBezTo>
                      <a:pt x="44319" y="56182"/>
                      <a:pt x="20899" y="96817"/>
                      <a:pt x="0" y="136925"/>
                    </a:cubicBezTo>
                    <a:close/>
                  </a:path>
                </a:pathLst>
              </a:custGeom>
              <a:solidFill>
                <a:srgbClr val="F08143"/>
              </a:solidFill>
              <a:ln w="1955" cap="flat">
                <a:noFill/>
                <a:prstDash val="solid"/>
                <a:miter/>
              </a:ln>
            </p:spPr>
            <p:txBody>
              <a:bodyPr rtlCol="0" anchor="ctr"/>
              <a:lstStyle/>
              <a:p>
                <a:endParaRPr lang="en-IN"/>
              </a:p>
            </p:txBody>
          </p:sp>
          <p:sp>
            <p:nvSpPr>
              <p:cNvPr id="18" name="Freeform: Shape 17">
                <a:extLst>
                  <a:ext uri="{FF2B5EF4-FFF2-40B4-BE49-F238E27FC236}">
                    <a16:creationId xmlns:a16="http://schemas.microsoft.com/office/drawing/2014/main" id="{52DFA4DC-31AC-5BFC-83C2-CCC759DE2C3B}"/>
                  </a:ext>
                </a:extLst>
              </p:cNvPr>
              <p:cNvSpPr/>
              <p:nvPr/>
            </p:nvSpPr>
            <p:spPr>
              <a:xfrm>
                <a:off x="6954989" y="3242991"/>
                <a:ext cx="939475" cy="692957"/>
              </a:xfrm>
              <a:custGeom>
                <a:avLst/>
                <a:gdLst>
                  <a:gd name="connsiteX0" fmla="*/ 0 w 939475"/>
                  <a:gd name="connsiteY0" fmla="*/ 300055 h 692957"/>
                  <a:gd name="connsiteX1" fmla="*/ 372361 w 939475"/>
                  <a:gd name="connsiteY1" fmla="*/ 472238 h 692957"/>
                  <a:gd name="connsiteX2" fmla="*/ 686856 w 939475"/>
                  <a:gd name="connsiteY2" fmla="*/ 602808 h 692957"/>
                  <a:gd name="connsiteX3" fmla="*/ 613740 w 939475"/>
                  <a:gd name="connsiteY3" fmla="*/ 692957 h 692957"/>
                  <a:gd name="connsiteX4" fmla="*/ 939476 w 939475"/>
                  <a:gd name="connsiteY4" fmla="*/ 613485 h 692957"/>
                  <a:gd name="connsiteX5" fmla="*/ 889663 w 939475"/>
                  <a:gd name="connsiteY5" fmla="*/ 333690 h 692957"/>
                  <a:gd name="connsiteX6" fmla="*/ 826049 w 939475"/>
                  <a:gd name="connsiteY6" fmla="*/ 421551 h 692957"/>
                  <a:gd name="connsiteX7" fmla="*/ 572119 w 939475"/>
                  <a:gd name="connsiteY7" fmla="*/ 228893 h 692957"/>
                  <a:gd name="connsiteX8" fmla="*/ 253128 w 939475"/>
                  <a:gd name="connsiteY8" fmla="*/ 0 h 692957"/>
                  <a:gd name="connsiteX9" fmla="*/ 0 w 939475"/>
                  <a:gd name="connsiteY9" fmla="*/ 300055 h 69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9475" h="692957">
                    <a:moveTo>
                      <a:pt x="0" y="300055"/>
                    </a:moveTo>
                    <a:cubicBezTo>
                      <a:pt x="124570" y="360187"/>
                      <a:pt x="250763" y="418305"/>
                      <a:pt x="372361" y="472238"/>
                    </a:cubicBezTo>
                    <a:cubicBezTo>
                      <a:pt x="486707" y="521439"/>
                      <a:pt x="591864" y="564949"/>
                      <a:pt x="686856" y="602808"/>
                    </a:cubicBezTo>
                    <a:cubicBezTo>
                      <a:pt x="662516" y="633177"/>
                      <a:pt x="638236" y="663253"/>
                      <a:pt x="613740" y="692957"/>
                    </a:cubicBezTo>
                    <a:cubicBezTo>
                      <a:pt x="735319" y="666128"/>
                      <a:pt x="843604" y="639689"/>
                      <a:pt x="939476" y="613485"/>
                    </a:cubicBezTo>
                    <a:cubicBezTo>
                      <a:pt x="926026" y="527716"/>
                      <a:pt x="909487" y="434496"/>
                      <a:pt x="889663" y="333690"/>
                    </a:cubicBezTo>
                    <a:cubicBezTo>
                      <a:pt x="868902" y="362358"/>
                      <a:pt x="847749" y="391905"/>
                      <a:pt x="826049" y="421551"/>
                    </a:cubicBezTo>
                    <a:cubicBezTo>
                      <a:pt x="750568" y="362924"/>
                      <a:pt x="665136" y="298353"/>
                      <a:pt x="572119" y="228893"/>
                    </a:cubicBezTo>
                    <a:cubicBezTo>
                      <a:pt x="470891" y="154505"/>
                      <a:pt x="362938" y="77165"/>
                      <a:pt x="253128" y="0"/>
                    </a:cubicBezTo>
                    <a:cubicBezTo>
                      <a:pt x="165507" y="96681"/>
                      <a:pt x="80075" y="197840"/>
                      <a:pt x="0" y="300055"/>
                    </a:cubicBezTo>
                    <a:close/>
                  </a:path>
                </a:pathLst>
              </a:custGeom>
              <a:solidFill>
                <a:srgbClr val="0094D6"/>
              </a:solidFill>
              <a:ln w="1955" cap="flat">
                <a:noFill/>
                <a:prstDash val="solid"/>
                <a:miter/>
              </a:ln>
            </p:spPr>
            <p:txBody>
              <a:bodyPr rtlCol="0" anchor="ctr"/>
              <a:lstStyle/>
              <a:p>
                <a:endParaRPr lang="en-IN"/>
              </a:p>
            </p:txBody>
          </p:sp>
          <p:sp>
            <p:nvSpPr>
              <p:cNvPr id="19" name="Freeform: Shape 18">
                <a:extLst>
                  <a:ext uri="{FF2B5EF4-FFF2-40B4-BE49-F238E27FC236}">
                    <a16:creationId xmlns:a16="http://schemas.microsoft.com/office/drawing/2014/main" id="{EC93C473-AA28-8E81-7925-B39095F4AEC0}"/>
                  </a:ext>
                </a:extLst>
              </p:cNvPr>
              <p:cNvSpPr/>
              <p:nvPr/>
            </p:nvSpPr>
            <p:spPr>
              <a:xfrm>
                <a:off x="7004625" y="2783943"/>
                <a:ext cx="847553" cy="368057"/>
              </a:xfrm>
              <a:custGeom>
                <a:avLst/>
                <a:gdLst>
                  <a:gd name="connsiteX0" fmla="*/ 707441 w 847553"/>
                  <a:gd name="connsiteY0" fmla="*/ 1378 h 368057"/>
                  <a:gd name="connsiteX1" fmla="*/ 213736 w 847553"/>
                  <a:gd name="connsiteY1" fmla="*/ 170550 h 368057"/>
                  <a:gd name="connsiteX2" fmla="*/ 189533 w 847553"/>
                  <a:gd name="connsiteY2" fmla="*/ 131557 h 368057"/>
                  <a:gd name="connsiteX3" fmla="*/ 0 w 847553"/>
                  <a:gd name="connsiteY3" fmla="*/ 368057 h 368057"/>
                  <a:gd name="connsiteX4" fmla="*/ 303801 w 847553"/>
                  <a:gd name="connsiteY4" fmla="*/ 328028 h 368057"/>
                  <a:gd name="connsiteX5" fmla="*/ 271172 w 847553"/>
                  <a:gd name="connsiteY5" fmla="*/ 268209 h 368057"/>
                  <a:gd name="connsiteX6" fmla="*/ 847554 w 847553"/>
                  <a:gd name="connsiteY6" fmla="*/ 89279 h 368057"/>
                  <a:gd name="connsiteX7" fmla="*/ 707441 w 847553"/>
                  <a:gd name="connsiteY7" fmla="*/ 1378 h 36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553" h="368057">
                    <a:moveTo>
                      <a:pt x="707441" y="1378"/>
                    </a:moveTo>
                    <a:cubicBezTo>
                      <a:pt x="531905" y="-12408"/>
                      <a:pt x="350075" y="79638"/>
                      <a:pt x="213736" y="170550"/>
                    </a:cubicBezTo>
                    <a:cubicBezTo>
                      <a:pt x="205720" y="156881"/>
                      <a:pt x="197686" y="143857"/>
                      <a:pt x="189533" y="131557"/>
                    </a:cubicBezTo>
                    <a:cubicBezTo>
                      <a:pt x="126916" y="203442"/>
                      <a:pt x="62969" y="282816"/>
                      <a:pt x="0" y="368057"/>
                    </a:cubicBezTo>
                    <a:cubicBezTo>
                      <a:pt x="89889" y="353000"/>
                      <a:pt x="190980" y="339507"/>
                      <a:pt x="303801" y="328028"/>
                    </a:cubicBezTo>
                    <a:cubicBezTo>
                      <a:pt x="292364" y="307280"/>
                      <a:pt x="281729" y="287079"/>
                      <a:pt x="271172" y="268209"/>
                    </a:cubicBezTo>
                    <a:cubicBezTo>
                      <a:pt x="401861" y="185764"/>
                      <a:pt x="647346" y="82415"/>
                      <a:pt x="847554" y="89279"/>
                    </a:cubicBezTo>
                    <a:cubicBezTo>
                      <a:pt x="798289" y="53903"/>
                      <a:pt x="751643" y="24825"/>
                      <a:pt x="707441" y="1378"/>
                    </a:cubicBezTo>
                    <a:close/>
                  </a:path>
                </a:pathLst>
              </a:custGeom>
              <a:solidFill>
                <a:srgbClr val="F08143"/>
              </a:solidFill>
              <a:ln w="1955"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E1943DFB-9CAE-6D6D-5776-112FF2552F6C}"/>
                  </a:ext>
                </a:extLst>
              </p:cNvPr>
              <p:cNvSpPr/>
              <p:nvPr/>
            </p:nvSpPr>
            <p:spPr>
              <a:xfrm>
                <a:off x="4294230" y="3140346"/>
                <a:ext cx="404970" cy="583076"/>
              </a:xfrm>
              <a:custGeom>
                <a:avLst/>
                <a:gdLst>
                  <a:gd name="connsiteX0" fmla="*/ 0 w 404970"/>
                  <a:gd name="connsiteY0" fmla="*/ 583077 h 583076"/>
                  <a:gd name="connsiteX1" fmla="*/ 0 w 404970"/>
                  <a:gd name="connsiteY1" fmla="*/ 60992 h 583076"/>
                  <a:gd name="connsiteX2" fmla="*/ 17849 w 404970"/>
                  <a:gd name="connsiteY2" fmla="*/ 17776 h 583076"/>
                  <a:gd name="connsiteX3" fmla="*/ 61053 w 404970"/>
                  <a:gd name="connsiteY3" fmla="*/ 0 h 583076"/>
                  <a:gd name="connsiteX4" fmla="*/ 120367 w 404970"/>
                  <a:gd name="connsiteY4" fmla="*/ 0 h 583076"/>
                  <a:gd name="connsiteX5" fmla="*/ 120367 w 404970"/>
                  <a:gd name="connsiteY5" fmla="*/ 474584 h 583076"/>
                  <a:gd name="connsiteX6" fmla="*/ 404970 w 404970"/>
                  <a:gd name="connsiteY6" fmla="*/ 474584 h 583076"/>
                  <a:gd name="connsiteX7" fmla="*/ 404970 w 404970"/>
                  <a:gd name="connsiteY7" fmla="*/ 583077 h 583076"/>
                  <a:gd name="connsiteX8" fmla="*/ 0 w 404970"/>
                  <a:gd name="connsiteY8" fmla="*/ 583077 h 5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4970" h="583076">
                    <a:moveTo>
                      <a:pt x="0" y="583077"/>
                    </a:moveTo>
                    <a:lnTo>
                      <a:pt x="0" y="60992"/>
                    </a:lnTo>
                    <a:cubicBezTo>
                      <a:pt x="0" y="44019"/>
                      <a:pt x="6021" y="29607"/>
                      <a:pt x="17849" y="17776"/>
                    </a:cubicBezTo>
                    <a:cubicBezTo>
                      <a:pt x="29676" y="5925"/>
                      <a:pt x="44084" y="0"/>
                      <a:pt x="61053" y="0"/>
                    </a:cubicBezTo>
                    <a:lnTo>
                      <a:pt x="120367" y="0"/>
                    </a:lnTo>
                    <a:lnTo>
                      <a:pt x="120367" y="474584"/>
                    </a:lnTo>
                    <a:lnTo>
                      <a:pt x="404970" y="474584"/>
                    </a:lnTo>
                    <a:lnTo>
                      <a:pt x="404970" y="583077"/>
                    </a:lnTo>
                    <a:lnTo>
                      <a:pt x="0" y="583077"/>
                    </a:lnTo>
                    <a:close/>
                  </a:path>
                </a:pathLst>
              </a:custGeom>
              <a:solidFill>
                <a:srgbClr val="0094D6"/>
              </a:solidFill>
              <a:ln w="1955" cap="flat">
                <a:noFill/>
                <a:prstDash val="solid"/>
                <a:miter/>
              </a:ln>
            </p:spPr>
            <p:txBody>
              <a:bodyPr rtlCol="0" anchor="ctr"/>
              <a:lstStyle/>
              <a:p>
                <a:endParaRPr lang="en-IN"/>
              </a:p>
            </p:txBody>
          </p:sp>
          <p:sp>
            <p:nvSpPr>
              <p:cNvPr id="21" name="Freeform: Shape 20">
                <a:extLst>
                  <a:ext uri="{FF2B5EF4-FFF2-40B4-BE49-F238E27FC236}">
                    <a16:creationId xmlns:a16="http://schemas.microsoft.com/office/drawing/2014/main" id="{0D4E373C-EE5B-C6B7-DE74-D01CA0C15D45}"/>
                  </a:ext>
                </a:extLst>
              </p:cNvPr>
              <p:cNvSpPr/>
              <p:nvPr/>
            </p:nvSpPr>
            <p:spPr>
              <a:xfrm>
                <a:off x="4707723" y="3262370"/>
                <a:ext cx="415057" cy="469460"/>
              </a:xfrm>
              <a:custGeom>
                <a:avLst/>
                <a:gdLst>
                  <a:gd name="connsiteX0" fmla="*/ 120269 w 415057"/>
                  <a:gd name="connsiteY0" fmla="*/ 189861 h 469460"/>
                  <a:gd name="connsiteX1" fmla="*/ 293068 w 415057"/>
                  <a:gd name="connsiteY1" fmla="*/ 189861 h 469460"/>
                  <a:gd name="connsiteX2" fmla="*/ 269374 w 415057"/>
                  <a:gd name="connsiteY2" fmla="*/ 122005 h 469460"/>
                  <a:gd name="connsiteX3" fmla="*/ 206717 w 415057"/>
                  <a:gd name="connsiteY3" fmla="*/ 98265 h 469460"/>
                  <a:gd name="connsiteX4" fmla="*/ 145684 w 415057"/>
                  <a:gd name="connsiteY4" fmla="*/ 122005 h 469460"/>
                  <a:gd name="connsiteX5" fmla="*/ 120269 w 415057"/>
                  <a:gd name="connsiteY5" fmla="*/ 189861 h 469460"/>
                  <a:gd name="connsiteX6" fmla="*/ 323605 w 415057"/>
                  <a:gd name="connsiteY6" fmla="*/ 322035 h 469460"/>
                  <a:gd name="connsiteX7" fmla="*/ 408293 w 415057"/>
                  <a:gd name="connsiteY7" fmla="*/ 322035 h 469460"/>
                  <a:gd name="connsiteX8" fmla="*/ 337172 w 415057"/>
                  <a:gd name="connsiteY8" fmla="*/ 430488 h 469460"/>
                  <a:gd name="connsiteX9" fmla="*/ 204997 w 415057"/>
                  <a:gd name="connsiteY9" fmla="*/ 469461 h 469460"/>
                  <a:gd name="connsiteX10" fmla="*/ 54172 w 415057"/>
                  <a:gd name="connsiteY10" fmla="*/ 406767 h 469460"/>
                  <a:gd name="connsiteX11" fmla="*/ 0 w 415057"/>
                  <a:gd name="connsiteY11" fmla="*/ 232218 h 469460"/>
                  <a:gd name="connsiteX12" fmla="*/ 52549 w 415057"/>
                  <a:gd name="connsiteY12" fmla="*/ 62674 h 469460"/>
                  <a:gd name="connsiteX13" fmla="*/ 203277 w 415057"/>
                  <a:gd name="connsiteY13" fmla="*/ 0 h 469460"/>
                  <a:gd name="connsiteX14" fmla="*/ 360847 w 415057"/>
                  <a:gd name="connsiteY14" fmla="*/ 61032 h 469460"/>
                  <a:gd name="connsiteX15" fmla="*/ 415058 w 415057"/>
                  <a:gd name="connsiteY15" fmla="*/ 235562 h 469460"/>
                  <a:gd name="connsiteX16" fmla="*/ 415058 w 415057"/>
                  <a:gd name="connsiteY16" fmla="*/ 247471 h 469460"/>
                  <a:gd name="connsiteX17" fmla="*/ 415058 w 415057"/>
                  <a:gd name="connsiteY17" fmla="*/ 254217 h 469460"/>
                  <a:gd name="connsiteX18" fmla="*/ 413396 w 415057"/>
                  <a:gd name="connsiteY18" fmla="*/ 266087 h 469460"/>
                  <a:gd name="connsiteX19" fmla="*/ 120269 w 415057"/>
                  <a:gd name="connsiteY19" fmla="*/ 266087 h 469460"/>
                  <a:gd name="connsiteX20" fmla="*/ 145684 w 415057"/>
                  <a:gd name="connsiteY20" fmla="*/ 343995 h 469460"/>
                  <a:gd name="connsiteX21" fmla="*/ 211761 w 415057"/>
                  <a:gd name="connsiteY21" fmla="*/ 371177 h 469460"/>
                  <a:gd name="connsiteX22" fmla="*/ 260889 w 415057"/>
                  <a:gd name="connsiteY22" fmla="*/ 359326 h 469460"/>
                  <a:gd name="connsiteX23" fmla="*/ 270234 w 415057"/>
                  <a:gd name="connsiteY23" fmla="*/ 353382 h 469460"/>
                  <a:gd name="connsiteX24" fmla="*/ 279501 w 415057"/>
                  <a:gd name="connsiteY24" fmla="*/ 343995 h 469460"/>
                  <a:gd name="connsiteX25" fmla="*/ 292247 w 415057"/>
                  <a:gd name="connsiteY25" fmla="*/ 330541 h 469460"/>
                  <a:gd name="connsiteX26" fmla="*/ 323605 w 415057"/>
                  <a:gd name="connsiteY26" fmla="*/ 322035 h 46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5057" h="469460">
                    <a:moveTo>
                      <a:pt x="120269" y="189861"/>
                    </a:moveTo>
                    <a:lnTo>
                      <a:pt x="293068" y="189861"/>
                    </a:lnTo>
                    <a:cubicBezTo>
                      <a:pt x="290800" y="159316"/>
                      <a:pt x="282941" y="136788"/>
                      <a:pt x="269374" y="122005"/>
                    </a:cubicBezTo>
                    <a:cubicBezTo>
                      <a:pt x="254673" y="106204"/>
                      <a:pt x="233755" y="98265"/>
                      <a:pt x="206717" y="98265"/>
                    </a:cubicBezTo>
                    <a:cubicBezTo>
                      <a:pt x="181792" y="98265"/>
                      <a:pt x="161538" y="106204"/>
                      <a:pt x="145684" y="122005"/>
                    </a:cubicBezTo>
                    <a:cubicBezTo>
                      <a:pt x="129829" y="137864"/>
                      <a:pt x="121403" y="160431"/>
                      <a:pt x="120269" y="189861"/>
                    </a:cubicBezTo>
                    <a:close/>
                    <a:moveTo>
                      <a:pt x="323605" y="322035"/>
                    </a:moveTo>
                    <a:lnTo>
                      <a:pt x="408293" y="322035"/>
                    </a:lnTo>
                    <a:cubicBezTo>
                      <a:pt x="395860" y="369534"/>
                      <a:pt x="372205" y="405633"/>
                      <a:pt x="337172" y="430488"/>
                    </a:cubicBezTo>
                    <a:cubicBezTo>
                      <a:pt x="302159" y="456515"/>
                      <a:pt x="258035" y="469461"/>
                      <a:pt x="204997" y="469461"/>
                    </a:cubicBezTo>
                    <a:cubicBezTo>
                      <a:pt x="140581" y="469461"/>
                      <a:pt x="90260" y="448576"/>
                      <a:pt x="54172" y="406767"/>
                    </a:cubicBezTo>
                    <a:cubicBezTo>
                      <a:pt x="18044" y="366073"/>
                      <a:pt x="0" y="307896"/>
                      <a:pt x="0" y="232218"/>
                    </a:cubicBezTo>
                    <a:cubicBezTo>
                      <a:pt x="0" y="159883"/>
                      <a:pt x="17477" y="103369"/>
                      <a:pt x="52549" y="62674"/>
                    </a:cubicBezTo>
                    <a:cubicBezTo>
                      <a:pt x="88638" y="20904"/>
                      <a:pt x="138880" y="0"/>
                      <a:pt x="203277" y="0"/>
                    </a:cubicBezTo>
                    <a:cubicBezTo>
                      <a:pt x="271075" y="0"/>
                      <a:pt x="323605" y="20376"/>
                      <a:pt x="360847" y="61032"/>
                    </a:cubicBezTo>
                    <a:cubicBezTo>
                      <a:pt x="397033" y="102801"/>
                      <a:pt x="415058" y="160959"/>
                      <a:pt x="415058" y="235562"/>
                    </a:cubicBezTo>
                    <a:cubicBezTo>
                      <a:pt x="415058" y="240098"/>
                      <a:pt x="415058" y="244068"/>
                      <a:pt x="415058" y="247471"/>
                    </a:cubicBezTo>
                    <a:cubicBezTo>
                      <a:pt x="415058" y="250873"/>
                      <a:pt x="415058" y="253142"/>
                      <a:pt x="415058" y="254217"/>
                    </a:cubicBezTo>
                    <a:cubicBezTo>
                      <a:pt x="415058" y="259888"/>
                      <a:pt x="414432" y="263877"/>
                      <a:pt x="413396" y="266087"/>
                    </a:cubicBezTo>
                    <a:lnTo>
                      <a:pt x="120269" y="266087"/>
                    </a:lnTo>
                    <a:cubicBezTo>
                      <a:pt x="121403" y="301150"/>
                      <a:pt x="129829" y="327099"/>
                      <a:pt x="145684" y="343995"/>
                    </a:cubicBezTo>
                    <a:cubicBezTo>
                      <a:pt x="160404" y="362162"/>
                      <a:pt x="182378" y="371177"/>
                      <a:pt x="211761" y="371177"/>
                    </a:cubicBezTo>
                    <a:cubicBezTo>
                      <a:pt x="230979" y="371177"/>
                      <a:pt x="247361" y="367207"/>
                      <a:pt x="260889" y="359326"/>
                    </a:cubicBezTo>
                    <a:cubicBezTo>
                      <a:pt x="264272" y="358192"/>
                      <a:pt x="267400" y="356217"/>
                      <a:pt x="270234" y="353382"/>
                    </a:cubicBezTo>
                    <a:cubicBezTo>
                      <a:pt x="273069" y="350546"/>
                      <a:pt x="276177" y="347456"/>
                      <a:pt x="279501" y="343995"/>
                    </a:cubicBezTo>
                    <a:cubicBezTo>
                      <a:pt x="280635" y="340690"/>
                      <a:pt x="284896" y="336212"/>
                      <a:pt x="292247" y="330541"/>
                    </a:cubicBezTo>
                    <a:cubicBezTo>
                      <a:pt x="299559" y="324870"/>
                      <a:pt x="310037" y="322035"/>
                      <a:pt x="323605" y="322035"/>
                    </a:cubicBezTo>
                    <a:close/>
                  </a:path>
                </a:pathLst>
              </a:custGeom>
              <a:solidFill>
                <a:srgbClr val="0094D6"/>
              </a:solidFill>
              <a:ln w="1955" cap="flat">
                <a:noFill/>
                <a:prstDash val="solid"/>
                <a:miter/>
              </a:ln>
            </p:spPr>
            <p:txBody>
              <a:bodyPr rtlCol="0" anchor="ctr"/>
              <a:lstStyle/>
              <a:p>
                <a:endParaRPr lang="en-IN"/>
              </a:p>
            </p:txBody>
          </p:sp>
          <p:sp>
            <p:nvSpPr>
              <p:cNvPr id="22" name="Freeform: Shape 21">
                <a:extLst>
                  <a:ext uri="{FF2B5EF4-FFF2-40B4-BE49-F238E27FC236}">
                    <a16:creationId xmlns:a16="http://schemas.microsoft.com/office/drawing/2014/main" id="{F363F5CE-D78A-CFA2-3525-B4CA2EBC53FD}"/>
                  </a:ext>
                </a:extLst>
              </p:cNvPr>
              <p:cNvSpPr/>
              <p:nvPr/>
            </p:nvSpPr>
            <p:spPr>
              <a:xfrm>
                <a:off x="5141431" y="3140346"/>
                <a:ext cx="406631" cy="583076"/>
              </a:xfrm>
              <a:custGeom>
                <a:avLst/>
                <a:gdLst>
                  <a:gd name="connsiteX0" fmla="*/ 118627 w 406631"/>
                  <a:gd name="connsiteY0" fmla="*/ 132154 h 583076"/>
                  <a:gd name="connsiteX1" fmla="*/ 118627 w 406631"/>
                  <a:gd name="connsiteY1" fmla="*/ 298275 h 583076"/>
                  <a:gd name="connsiteX2" fmla="*/ 262708 w 406631"/>
                  <a:gd name="connsiteY2" fmla="*/ 132154 h 583076"/>
                  <a:gd name="connsiteX3" fmla="*/ 405009 w 406631"/>
                  <a:gd name="connsiteY3" fmla="*/ 132154 h 583076"/>
                  <a:gd name="connsiteX4" fmla="*/ 244038 w 406631"/>
                  <a:gd name="connsiteY4" fmla="*/ 305080 h 583076"/>
                  <a:gd name="connsiteX5" fmla="*/ 406632 w 406631"/>
                  <a:gd name="connsiteY5" fmla="*/ 583077 h 583076"/>
                  <a:gd name="connsiteX6" fmla="*/ 264369 w 406631"/>
                  <a:gd name="connsiteY6" fmla="*/ 583077 h 583076"/>
                  <a:gd name="connsiteX7" fmla="*/ 181303 w 406631"/>
                  <a:gd name="connsiteY7" fmla="*/ 430546 h 583076"/>
                  <a:gd name="connsiteX8" fmla="*/ 137277 w 406631"/>
                  <a:gd name="connsiteY8" fmla="*/ 391573 h 583076"/>
                  <a:gd name="connsiteX9" fmla="*/ 118627 w 406631"/>
                  <a:gd name="connsiteY9" fmla="*/ 411891 h 583076"/>
                  <a:gd name="connsiteX10" fmla="*/ 118627 w 406631"/>
                  <a:gd name="connsiteY10" fmla="*/ 474584 h 583076"/>
                  <a:gd name="connsiteX11" fmla="*/ 118627 w 406631"/>
                  <a:gd name="connsiteY11" fmla="*/ 583077 h 583076"/>
                  <a:gd name="connsiteX12" fmla="*/ 0 w 406631"/>
                  <a:gd name="connsiteY12" fmla="*/ 583077 h 583076"/>
                  <a:gd name="connsiteX13" fmla="*/ 0 w 406631"/>
                  <a:gd name="connsiteY13" fmla="*/ 0 h 583076"/>
                  <a:gd name="connsiteX14" fmla="*/ 60995 w 406631"/>
                  <a:gd name="connsiteY14" fmla="*/ 0 h 583076"/>
                  <a:gd name="connsiteX15" fmla="*/ 101658 w 406631"/>
                  <a:gd name="connsiteY15" fmla="*/ 16896 h 583076"/>
                  <a:gd name="connsiteX16" fmla="*/ 118627 w 406631"/>
                  <a:gd name="connsiteY16" fmla="*/ 55889 h 583076"/>
                  <a:gd name="connsiteX17" fmla="*/ 118627 w 406631"/>
                  <a:gd name="connsiteY17" fmla="*/ 132154 h 5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631" h="583076">
                    <a:moveTo>
                      <a:pt x="118627" y="132154"/>
                    </a:moveTo>
                    <a:lnTo>
                      <a:pt x="118627" y="298275"/>
                    </a:lnTo>
                    <a:lnTo>
                      <a:pt x="262708" y="132154"/>
                    </a:lnTo>
                    <a:lnTo>
                      <a:pt x="405009" y="132154"/>
                    </a:lnTo>
                    <a:lnTo>
                      <a:pt x="244038" y="305080"/>
                    </a:lnTo>
                    <a:lnTo>
                      <a:pt x="406632" y="583077"/>
                    </a:lnTo>
                    <a:lnTo>
                      <a:pt x="264369" y="583077"/>
                    </a:lnTo>
                    <a:lnTo>
                      <a:pt x="181303" y="430546"/>
                    </a:lnTo>
                    <a:cubicBezTo>
                      <a:pt x="164393" y="399962"/>
                      <a:pt x="149652" y="387017"/>
                      <a:pt x="137277" y="391573"/>
                    </a:cubicBezTo>
                    <a:cubicBezTo>
                      <a:pt x="124824" y="396051"/>
                      <a:pt x="118627" y="402817"/>
                      <a:pt x="118627" y="411891"/>
                    </a:cubicBezTo>
                    <a:lnTo>
                      <a:pt x="118627" y="474584"/>
                    </a:lnTo>
                    <a:lnTo>
                      <a:pt x="118627" y="583077"/>
                    </a:lnTo>
                    <a:lnTo>
                      <a:pt x="0" y="583077"/>
                    </a:lnTo>
                    <a:lnTo>
                      <a:pt x="0" y="0"/>
                    </a:lnTo>
                    <a:lnTo>
                      <a:pt x="60995" y="0"/>
                    </a:lnTo>
                    <a:cubicBezTo>
                      <a:pt x="76810" y="0"/>
                      <a:pt x="90339" y="5671"/>
                      <a:pt x="101658" y="16896"/>
                    </a:cubicBezTo>
                    <a:cubicBezTo>
                      <a:pt x="112938" y="28199"/>
                      <a:pt x="118627" y="41242"/>
                      <a:pt x="118627" y="55889"/>
                    </a:cubicBezTo>
                    <a:lnTo>
                      <a:pt x="118627" y="132154"/>
                    </a:lnTo>
                    <a:close/>
                  </a:path>
                </a:pathLst>
              </a:custGeom>
              <a:solidFill>
                <a:srgbClr val="0094D6"/>
              </a:solidFill>
              <a:ln w="1955" cap="flat">
                <a:no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90D7C5B2-7FC9-AAF4-CC30-685162E507ED}"/>
                  </a:ext>
                </a:extLst>
              </p:cNvPr>
              <p:cNvSpPr/>
              <p:nvPr/>
            </p:nvSpPr>
            <p:spPr>
              <a:xfrm>
                <a:off x="5568453" y="3140346"/>
                <a:ext cx="420159" cy="583076"/>
              </a:xfrm>
              <a:custGeom>
                <a:avLst/>
                <a:gdLst>
                  <a:gd name="connsiteX0" fmla="*/ 282961 w 420159"/>
                  <a:gd name="connsiteY0" fmla="*/ 259262 h 583076"/>
                  <a:gd name="connsiteX1" fmla="*/ 213501 w 420159"/>
                  <a:gd name="connsiteY1" fmla="*/ 223653 h 583076"/>
                  <a:gd name="connsiteX2" fmla="*/ 140659 w 420159"/>
                  <a:gd name="connsiteY2" fmla="*/ 257561 h 583076"/>
                  <a:gd name="connsiteX3" fmla="*/ 115206 w 420159"/>
                  <a:gd name="connsiteY3" fmla="*/ 350820 h 583076"/>
                  <a:gd name="connsiteX4" fmla="*/ 115206 w 420159"/>
                  <a:gd name="connsiteY4" fmla="*/ 583077 h 583076"/>
                  <a:gd name="connsiteX5" fmla="*/ 0 w 420159"/>
                  <a:gd name="connsiteY5" fmla="*/ 583077 h 583076"/>
                  <a:gd name="connsiteX6" fmla="*/ 0 w 420159"/>
                  <a:gd name="connsiteY6" fmla="*/ 0 h 583076"/>
                  <a:gd name="connsiteX7" fmla="*/ 57632 w 420159"/>
                  <a:gd name="connsiteY7" fmla="*/ 0 h 583076"/>
                  <a:gd name="connsiteX8" fmla="*/ 98295 w 420159"/>
                  <a:gd name="connsiteY8" fmla="*/ 16896 h 583076"/>
                  <a:gd name="connsiteX9" fmla="*/ 115206 w 420159"/>
                  <a:gd name="connsiteY9" fmla="*/ 57590 h 583076"/>
                  <a:gd name="connsiteX10" fmla="*/ 115206 w 420159"/>
                  <a:gd name="connsiteY10" fmla="*/ 191523 h 583076"/>
                  <a:gd name="connsiteX11" fmla="*/ 201674 w 420159"/>
                  <a:gd name="connsiteY11" fmla="*/ 127069 h 583076"/>
                  <a:gd name="connsiteX12" fmla="*/ 308395 w 420159"/>
                  <a:gd name="connsiteY12" fmla="*/ 133855 h 583076"/>
                  <a:gd name="connsiteX13" fmla="*/ 388020 w 420159"/>
                  <a:gd name="connsiteY13" fmla="*/ 198270 h 583076"/>
                  <a:gd name="connsiteX14" fmla="*/ 420160 w 420159"/>
                  <a:gd name="connsiteY14" fmla="*/ 320294 h 583076"/>
                  <a:gd name="connsiteX15" fmla="*/ 420160 w 420159"/>
                  <a:gd name="connsiteY15" fmla="*/ 583077 h 583076"/>
                  <a:gd name="connsiteX16" fmla="*/ 306694 w 420159"/>
                  <a:gd name="connsiteY16" fmla="*/ 583077 h 583076"/>
                  <a:gd name="connsiteX17" fmla="*/ 306694 w 420159"/>
                  <a:gd name="connsiteY17" fmla="*/ 349119 h 583076"/>
                  <a:gd name="connsiteX18" fmla="*/ 302413 w 420159"/>
                  <a:gd name="connsiteY18" fmla="*/ 302558 h 583076"/>
                  <a:gd name="connsiteX19" fmla="*/ 282961 w 420159"/>
                  <a:gd name="connsiteY19" fmla="*/ 259262 h 5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0159" h="583076">
                    <a:moveTo>
                      <a:pt x="282961" y="259262"/>
                    </a:moveTo>
                    <a:cubicBezTo>
                      <a:pt x="266011" y="235542"/>
                      <a:pt x="242826" y="223653"/>
                      <a:pt x="213501" y="223653"/>
                    </a:cubicBezTo>
                    <a:cubicBezTo>
                      <a:pt x="181850" y="223653"/>
                      <a:pt x="157550" y="235034"/>
                      <a:pt x="140659" y="257561"/>
                    </a:cubicBezTo>
                    <a:cubicBezTo>
                      <a:pt x="123710" y="280206"/>
                      <a:pt x="115206" y="311318"/>
                      <a:pt x="115206" y="350820"/>
                    </a:cubicBezTo>
                    <a:lnTo>
                      <a:pt x="115206" y="583077"/>
                    </a:lnTo>
                    <a:lnTo>
                      <a:pt x="0" y="583077"/>
                    </a:lnTo>
                    <a:lnTo>
                      <a:pt x="0" y="0"/>
                    </a:lnTo>
                    <a:lnTo>
                      <a:pt x="57632" y="0"/>
                    </a:lnTo>
                    <a:cubicBezTo>
                      <a:pt x="73389" y="0"/>
                      <a:pt x="86996" y="5671"/>
                      <a:pt x="98295" y="16896"/>
                    </a:cubicBezTo>
                    <a:cubicBezTo>
                      <a:pt x="109556" y="28199"/>
                      <a:pt x="115206" y="41809"/>
                      <a:pt x="115206" y="57590"/>
                    </a:cubicBezTo>
                    <a:lnTo>
                      <a:pt x="115206" y="191523"/>
                    </a:lnTo>
                    <a:cubicBezTo>
                      <a:pt x="135518" y="157576"/>
                      <a:pt x="164353" y="136182"/>
                      <a:pt x="201674" y="127069"/>
                    </a:cubicBezTo>
                    <a:cubicBezTo>
                      <a:pt x="238876" y="118074"/>
                      <a:pt x="274554" y="120303"/>
                      <a:pt x="308395" y="133855"/>
                    </a:cubicBezTo>
                    <a:cubicBezTo>
                      <a:pt x="340007" y="147427"/>
                      <a:pt x="366555" y="168859"/>
                      <a:pt x="388020" y="198270"/>
                    </a:cubicBezTo>
                    <a:cubicBezTo>
                      <a:pt x="409427" y="227681"/>
                      <a:pt x="420160" y="268356"/>
                      <a:pt x="420160" y="320294"/>
                    </a:cubicBezTo>
                    <a:lnTo>
                      <a:pt x="420160" y="583077"/>
                    </a:lnTo>
                    <a:lnTo>
                      <a:pt x="306694" y="583077"/>
                    </a:lnTo>
                    <a:lnTo>
                      <a:pt x="306694" y="349119"/>
                    </a:lnTo>
                    <a:cubicBezTo>
                      <a:pt x="306694" y="332223"/>
                      <a:pt x="305228" y="316676"/>
                      <a:pt x="302413" y="302558"/>
                    </a:cubicBezTo>
                    <a:cubicBezTo>
                      <a:pt x="299598" y="288400"/>
                      <a:pt x="293127" y="273968"/>
                      <a:pt x="282961" y="259262"/>
                    </a:cubicBezTo>
                    <a:close/>
                  </a:path>
                </a:pathLst>
              </a:custGeom>
              <a:solidFill>
                <a:srgbClr val="0094D6"/>
              </a:solidFill>
              <a:ln w="1955" cap="flat">
                <a:noFill/>
                <a:prstDash val="solid"/>
                <a:miter/>
              </a:ln>
            </p:spPr>
            <p:txBody>
              <a:bodyPr rtlCol="0" anchor="ctr"/>
              <a:lstStyle/>
              <a:p>
                <a:endParaRPr lang="en-IN"/>
              </a:p>
            </p:txBody>
          </p:sp>
          <p:sp>
            <p:nvSpPr>
              <p:cNvPr id="24" name="Freeform: Shape 23">
                <a:extLst>
                  <a:ext uri="{FF2B5EF4-FFF2-40B4-BE49-F238E27FC236}">
                    <a16:creationId xmlns:a16="http://schemas.microsoft.com/office/drawing/2014/main" id="{595AF992-03E4-579D-3309-3413CC76317D}"/>
                  </a:ext>
                </a:extLst>
              </p:cNvPr>
              <p:cNvSpPr/>
              <p:nvPr/>
            </p:nvSpPr>
            <p:spPr>
              <a:xfrm>
                <a:off x="5998818" y="3262370"/>
                <a:ext cx="381197" cy="469460"/>
              </a:xfrm>
              <a:custGeom>
                <a:avLst/>
                <a:gdLst>
                  <a:gd name="connsiteX0" fmla="*/ 271055 w 381197"/>
                  <a:gd name="connsiteY0" fmla="*/ 233919 h 469460"/>
                  <a:gd name="connsiteX1" fmla="*/ 205017 w 381197"/>
                  <a:gd name="connsiteY1" fmla="*/ 255879 h 469460"/>
                  <a:gd name="connsiteX2" fmla="*/ 166035 w 381197"/>
                  <a:gd name="connsiteY2" fmla="*/ 264386 h 469460"/>
                  <a:gd name="connsiteX3" fmla="*/ 121989 w 381197"/>
                  <a:gd name="connsiteY3" fmla="*/ 286464 h 469460"/>
                  <a:gd name="connsiteX4" fmla="*/ 110162 w 381197"/>
                  <a:gd name="connsiteY4" fmla="*/ 323736 h 469460"/>
                  <a:gd name="connsiteX5" fmla="*/ 125372 w 381197"/>
                  <a:gd name="connsiteY5" fmla="*/ 364372 h 469460"/>
                  <a:gd name="connsiteX6" fmla="*/ 169475 w 381197"/>
                  <a:gd name="connsiteY6" fmla="*/ 377982 h 469460"/>
                  <a:gd name="connsiteX7" fmla="*/ 243959 w 381197"/>
                  <a:gd name="connsiteY7" fmla="*/ 350820 h 469460"/>
                  <a:gd name="connsiteX8" fmla="*/ 271055 w 381197"/>
                  <a:gd name="connsiteY8" fmla="*/ 276256 h 469460"/>
                  <a:gd name="connsiteX9" fmla="*/ 271055 w 381197"/>
                  <a:gd name="connsiteY9" fmla="*/ 233919 h 469460"/>
                  <a:gd name="connsiteX10" fmla="*/ 298209 w 381197"/>
                  <a:gd name="connsiteY10" fmla="*/ 442338 h 469460"/>
                  <a:gd name="connsiteX11" fmla="*/ 222826 w 381197"/>
                  <a:gd name="connsiteY11" fmla="*/ 465237 h 469460"/>
                  <a:gd name="connsiteX12" fmla="*/ 152467 w 381197"/>
                  <a:gd name="connsiteY12" fmla="*/ 469461 h 469460"/>
                  <a:gd name="connsiteX13" fmla="*/ 45746 w 381197"/>
                  <a:gd name="connsiteY13" fmla="*/ 436452 h 469460"/>
                  <a:gd name="connsiteX14" fmla="*/ 0 w 381197"/>
                  <a:gd name="connsiteY14" fmla="*/ 327099 h 469460"/>
                  <a:gd name="connsiteX15" fmla="*/ 41523 w 381197"/>
                  <a:gd name="connsiteY15" fmla="*/ 225393 h 469460"/>
                  <a:gd name="connsiteX16" fmla="*/ 147423 w 381197"/>
                  <a:gd name="connsiteY16" fmla="*/ 184699 h 469460"/>
                  <a:gd name="connsiteX17" fmla="*/ 167775 w 381197"/>
                  <a:gd name="connsiteY17" fmla="*/ 182176 h 469460"/>
                  <a:gd name="connsiteX18" fmla="*/ 194870 w 381197"/>
                  <a:gd name="connsiteY18" fmla="*/ 177991 h 469460"/>
                  <a:gd name="connsiteX19" fmla="*/ 269433 w 381197"/>
                  <a:gd name="connsiteY19" fmla="*/ 133894 h 469460"/>
                  <a:gd name="connsiteX20" fmla="*/ 243138 w 381197"/>
                  <a:gd name="connsiteY20" fmla="*/ 100846 h 469460"/>
                  <a:gd name="connsiteX21" fmla="*/ 194870 w 381197"/>
                  <a:gd name="connsiteY21" fmla="*/ 93200 h 469460"/>
                  <a:gd name="connsiteX22" fmla="*/ 152467 w 381197"/>
                  <a:gd name="connsiteY22" fmla="*/ 99966 h 469460"/>
                  <a:gd name="connsiteX23" fmla="*/ 125372 w 381197"/>
                  <a:gd name="connsiteY23" fmla="*/ 125427 h 469460"/>
                  <a:gd name="connsiteX24" fmla="*/ 11886 w 381197"/>
                  <a:gd name="connsiteY24" fmla="*/ 125427 h 469460"/>
                  <a:gd name="connsiteX25" fmla="*/ 59274 w 381197"/>
                  <a:gd name="connsiteY25" fmla="*/ 38954 h 469460"/>
                  <a:gd name="connsiteX26" fmla="*/ 189787 w 381197"/>
                  <a:gd name="connsiteY26" fmla="*/ 0 h 469460"/>
                  <a:gd name="connsiteX27" fmla="*/ 332050 w 381197"/>
                  <a:gd name="connsiteY27" fmla="*/ 32207 h 469460"/>
                  <a:gd name="connsiteX28" fmla="*/ 381198 w 381197"/>
                  <a:gd name="connsiteY28" fmla="*/ 127089 h 469460"/>
                  <a:gd name="connsiteX29" fmla="*/ 381198 w 381197"/>
                  <a:gd name="connsiteY29" fmla="*/ 281360 h 469460"/>
                  <a:gd name="connsiteX30" fmla="*/ 356663 w 381197"/>
                  <a:gd name="connsiteY30" fmla="*/ 387271 h 469460"/>
                  <a:gd name="connsiteX31" fmla="*/ 298209 w 381197"/>
                  <a:gd name="connsiteY31" fmla="*/ 442338 h 469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197" h="469460">
                    <a:moveTo>
                      <a:pt x="271055" y="233919"/>
                    </a:moveTo>
                    <a:cubicBezTo>
                      <a:pt x="255298" y="241800"/>
                      <a:pt x="233246" y="249172"/>
                      <a:pt x="205017" y="255879"/>
                    </a:cubicBezTo>
                    <a:lnTo>
                      <a:pt x="166035" y="264386"/>
                    </a:lnTo>
                    <a:cubicBezTo>
                      <a:pt x="145684" y="270057"/>
                      <a:pt x="130982" y="277429"/>
                      <a:pt x="121989" y="286464"/>
                    </a:cubicBezTo>
                    <a:cubicBezTo>
                      <a:pt x="114072" y="298940"/>
                      <a:pt x="110162" y="311318"/>
                      <a:pt x="110162" y="323736"/>
                    </a:cubicBezTo>
                    <a:cubicBezTo>
                      <a:pt x="110162" y="340690"/>
                      <a:pt x="115245" y="354261"/>
                      <a:pt x="125372" y="364372"/>
                    </a:cubicBezTo>
                    <a:cubicBezTo>
                      <a:pt x="135576" y="373445"/>
                      <a:pt x="150219" y="377982"/>
                      <a:pt x="169475" y="377982"/>
                    </a:cubicBezTo>
                    <a:cubicBezTo>
                      <a:pt x="201028" y="377982"/>
                      <a:pt x="225876" y="368908"/>
                      <a:pt x="243959" y="350820"/>
                    </a:cubicBezTo>
                    <a:cubicBezTo>
                      <a:pt x="262043" y="332751"/>
                      <a:pt x="271055" y="307896"/>
                      <a:pt x="271055" y="276256"/>
                    </a:cubicBezTo>
                    <a:lnTo>
                      <a:pt x="271055" y="233919"/>
                    </a:lnTo>
                    <a:close/>
                    <a:moveTo>
                      <a:pt x="298209" y="442338"/>
                    </a:moveTo>
                    <a:cubicBezTo>
                      <a:pt x="274496" y="454814"/>
                      <a:pt x="249355" y="462402"/>
                      <a:pt x="222826" y="465237"/>
                    </a:cubicBezTo>
                    <a:cubicBezTo>
                      <a:pt x="196258" y="468073"/>
                      <a:pt x="172857" y="469461"/>
                      <a:pt x="152467" y="469461"/>
                    </a:cubicBezTo>
                    <a:cubicBezTo>
                      <a:pt x="111784" y="469461"/>
                      <a:pt x="76283" y="458432"/>
                      <a:pt x="45746" y="436452"/>
                    </a:cubicBezTo>
                    <a:cubicBezTo>
                      <a:pt x="15171" y="414394"/>
                      <a:pt x="0" y="377982"/>
                      <a:pt x="0" y="327099"/>
                    </a:cubicBezTo>
                    <a:cubicBezTo>
                      <a:pt x="0" y="279600"/>
                      <a:pt x="13841" y="245769"/>
                      <a:pt x="41523" y="225393"/>
                    </a:cubicBezTo>
                    <a:cubicBezTo>
                      <a:pt x="69127" y="205075"/>
                      <a:pt x="104453" y="191504"/>
                      <a:pt x="147423" y="184699"/>
                    </a:cubicBezTo>
                    <a:cubicBezTo>
                      <a:pt x="153054" y="184699"/>
                      <a:pt x="159779" y="183877"/>
                      <a:pt x="167775" y="182176"/>
                    </a:cubicBezTo>
                    <a:cubicBezTo>
                      <a:pt x="175673" y="180533"/>
                      <a:pt x="184665" y="179086"/>
                      <a:pt x="194870" y="177991"/>
                    </a:cubicBezTo>
                    <a:cubicBezTo>
                      <a:pt x="244546" y="171186"/>
                      <a:pt x="269433" y="156481"/>
                      <a:pt x="269433" y="133894"/>
                    </a:cubicBezTo>
                    <a:cubicBezTo>
                      <a:pt x="269433" y="116920"/>
                      <a:pt x="260616" y="105891"/>
                      <a:pt x="243138" y="100846"/>
                    </a:cubicBezTo>
                    <a:cubicBezTo>
                      <a:pt x="225583" y="95781"/>
                      <a:pt x="209532" y="93200"/>
                      <a:pt x="194870" y="93200"/>
                    </a:cubicBezTo>
                    <a:cubicBezTo>
                      <a:pt x="178996" y="93200"/>
                      <a:pt x="164920" y="95527"/>
                      <a:pt x="152467" y="99966"/>
                    </a:cubicBezTo>
                    <a:cubicBezTo>
                      <a:pt x="140073" y="104503"/>
                      <a:pt x="130982" y="113009"/>
                      <a:pt x="125372" y="125427"/>
                    </a:cubicBezTo>
                    <a:lnTo>
                      <a:pt x="11886" y="125427"/>
                    </a:lnTo>
                    <a:cubicBezTo>
                      <a:pt x="16363" y="90423"/>
                      <a:pt x="32218" y="61599"/>
                      <a:pt x="59274" y="38954"/>
                    </a:cubicBezTo>
                    <a:cubicBezTo>
                      <a:pt x="89772" y="12985"/>
                      <a:pt x="133289" y="0"/>
                      <a:pt x="189787" y="0"/>
                    </a:cubicBezTo>
                    <a:cubicBezTo>
                      <a:pt x="252991" y="0"/>
                      <a:pt x="300419" y="10755"/>
                      <a:pt x="332050" y="32207"/>
                    </a:cubicBezTo>
                    <a:cubicBezTo>
                      <a:pt x="364854" y="54813"/>
                      <a:pt x="381198" y="86395"/>
                      <a:pt x="381198" y="127089"/>
                    </a:cubicBezTo>
                    <a:lnTo>
                      <a:pt x="381198" y="281360"/>
                    </a:lnTo>
                    <a:cubicBezTo>
                      <a:pt x="381198" y="326532"/>
                      <a:pt x="373006" y="361849"/>
                      <a:pt x="356663" y="387271"/>
                    </a:cubicBezTo>
                    <a:cubicBezTo>
                      <a:pt x="340261" y="412692"/>
                      <a:pt x="320809" y="431094"/>
                      <a:pt x="298209" y="442338"/>
                    </a:cubicBezTo>
                    <a:close/>
                  </a:path>
                </a:pathLst>
              </a:custGeom>
              <a:solidFill>
                <a:srgbClr val="0094D6"/>
              </a:solidFill>
              <a:ln w="1955" cap="flat">
                <a:noFill/>
                <a:prstDash val="solid"/>
                <a:miter/>
              </a:ln>
            </p:spPr>
            <p:txBody>
              <a:bodyPr rtlCol="0" anchor="ctr"/>
              <a:lstStyle/>
              <a:p>
                <a:endParaRPr lang="en-IN"/>
              </a:p>
            </p:txBody>
          </p:sp>
        </p:grpSp>
      </p:grpSp>
      <p:grpSp>
        <p:nvGrpSpPr>
          <p:cNvPr id="123" name="Group 122" descr="Solution Diagram for Lekah Wirelss 3GPP 4G and 5G ORAN solution">
            <a:extLst>
              <a:ext uri="{FF2B5EF4-FFF2-40B4-BE49-F238E27FC236}">
                <a16:creationId xmlns:a16="http://schemas.microsoft.com/office/drawing/2014/main" id="{E4672DAF-45EE-C01B-8542-EB5D701BE6CD}"/>
              </a:ext>
            </a:extLst>
          </p:cNvPr>
          <p:cNvGrpSpPr/>
          <p:nvPr/>
        </p:nvGrpSpPr>
        <p:grpSpPr>
          <a:xfrm>
            <a:off x="5471990" y="3147353"/>
            <a:ext cx="3841545" cy="3080783"/>
            <a:chOff x="495942" y="2416208"/>
            <a:chExt cx="3296436" cy="2643625"/>
          </a:xfrm>
        </p:grpSpPr>
        <p:sp>
          <p:nvSpPr>
            <p:cNvPr id="129" name="Rectangle 128">
              <a:extLst>
                <a:ext uri="{FF2B5EF4-FFF2-40B4-BE49-F238E27FC236}">
                  <a16:creationId xmlns:a16="http://schemas.microsoft.com/office/drawing/2014/main" id="{41E89B9E-BDEF-E055-0D38-722E713A6A4D}"/>
                </a:ext>
              </a:extLst>
            </p:cNvPr>
            <p:cNvSpPr/>
            <p:nvPr/>
          </p:nvSpPr>
          <p:spPr>
            <a:xfrm>
              <a:off x="495942" y="3634351"/>
              <a:ext cx="370586" cy="195932"/>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rgbClr val="FFFFFF"/>
                  </a:solidFill>
                  <a:effectLst/>
                  <a:uFillTx/>
                  <a:latin typeface="IntelOne Text" panose="020B0503020203020204" pitchFamily="34" charset="0"/>
                  <a:ea typeface="Helvetica Neue Medium"/>
                  <a:cs typeface="Helvetica Neue Medium"/>
                  <a:sym typeface="Helvetica Neue Medium"/>
                </a:rPr>
                <a:t>5GC</a:t>
              </a:r>
            </a:p>
          </p:txBody>
        </p:sp>
        <p:sp>
          <p:nvSpPr>
            <p:cNvPr id="131" name="Rectangle 130">
              <a:extLst>
                <a:ext uri="{FF2B5EF4-FFF2-40B4-BE49-F238E27FC236}">
                  <a16:creationId xmlns:a16="http://schemas.microsoft.com/office/drawing/2014/main" id="{1A4A7DAC-3F86-56FD-180B-60331E0BC80A}"/>
                </a:ext>
              </a:extLst>
            </p:cNvPr>
            <p:cNvSpPr/>
            <p:nvPr/>
          </p:nvSpPr>
          <p:spPr>
            <a:xfrm>
              <a:off x="706633" y="2776542"/>
              <a:ext cx="225982"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N2</a:t>
              </a:r>
            </a:p>
          </p:txBody>
        </p:sp>
        <p:sp>
          <p:nvSpPr>
            <p:cNvPr id="132" name="Rectangle 131">
              <a:extLst>
                <a:ext uri="{FF2B5EF4-FFF2-40B4-BE49-F238E27FC236}">
                  <a16:creationId xmlns:a16="http://schemas.microsoft.com/office/drawing/2014/main" id="{5B6C913D-533F-234F-9E1E-AFFAC0ECE330}"/>
                </a:ext>
              </a:extLst>
            </p:cNvPr>
            <p:cNvSpPr/>
            <p:nvPr/>
          </p:nvSpPr>
          <p:spPr>
            <a:xfrm>
              <a:off x="1095872" y="3695590"/>
              <a:ext cx="225982"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E1</a:t>
              </a:r>
            </a:p>
          </p:txBody>
        </p:sp>
        <p:sp>
          <p:nvSpPr>
            <p:cNvPr id="135" name="Rectangle 134">
              <a:extLst>
                <a:ext uri="{FF2B5EF4-FFF2-40B4-BE49-F238E27FC236}">
                  <a16:creationId xmlns:a16="http://schemas.microsoft.com/office/drawing/2014/main" id="{BF81B199-91EA-4E77-86F1-6A48B4B09C39}"/>
                </a:ext>
              </a:extLst>
            </p:cNvPr>
            <p:cNvSpPr/>
            <p:nvPr/>
          </p:nvSpPr>
          <p:spPr>
            <a:xfrm>
              <a:off x="1919829" y="3114747"/>
              <a:ext cx="303306"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F1-C</a:t>
              </a:r>
            </a:p>
          </p:txBody>
        </p:sp>
        <p:sp>
          <p:nvSpPr>
            <p:cNvPr id="157" name="Rectangle 156">
              <a:extLst>
                <a:ext uri="{FF2B5EF4-FFF2-40B4-BE49-F238E27FC236}">
                  <a16:creationId xmlns:a16="http://schemas.microsoft.com/office/drawing/2014/main" id="{DABC3FDF-90B1-47E3-95B3-B9D70CF283DE}"/>
                </a:ext>
              </a:extLst>
            </p:cNvPr>
            <p:cNvSpPr/>
            <p:nvPr/>
          </p:nvSpPr>
          <p:spPr>
            <a:xfrm>
              <a:off x="1665829" y="4049183"/>
              <a:ext cx="303306"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F1-U</a:t>
              </a:r>
            </a:p>
          </p:txBody>
        </p:sp>
        <p:sp>
          <p:nvSpPr>
            <p:cNvPr id="158" name="Rectangle 157">
              <a:extLst>
                <a:ext uri="{FF2B5EF4-FFF2-40B4-BE49-F238E27FC236}">
                  <a16:creationId xmlns:a16="http://schemas.microsoft.com/office/drawing/2014/main" id="{7CBA3073-1398-0B62-00FC-89AA8C6A89FA}"/>
                </a:ext>
              </a:extLst>
            </p:cNvPr>
            <p:cNvSpPr/>
            <p:nvPr/>
          </p:nvSpPr>
          <p:spPr>
            <a:xfrm>
              <a:off x="706633" y="4604119"/>
              <a:ext cx="225982"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N3</a:t>
              </a:r>
            </a:p>
          </p:txBody>
        </p:sp>
        <p:sp>
          <p:nvSpPr>
            <p:cNvPr id="159" name="Rectangle 158">
              <a:extLst>
                <a:ext uri="{FF2B5EF4-FFF2-40B4-BE49-F238E27FC236}">
                  <a16:creationId xmlns:a16="http://schemas.microsoft.com/office/drawing/2014/main" id="{F5D7FB47-073B-17BA-BFEC-A188D9275509}"/>
                </a:ext>
              </a:extLst>
            </p:cNvPr>
            <p:cNvSpPr/>
            <p:nvPr/>
          </p:nvSpPr>
          <p:spPr>
            <a:xfrm>
              <a:off x="909783" y="4927781"/>
              <a:ext cx="874806" cy="1320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1000" b="0" i="0" u="none" strike="noStrike" cap="none" spc="0" normalizeH="0" baseline="0" dirty="0" err="1">
                  <a:ln>
                    <a:noFill/>
                  </a:ln>
                  <a:solidFill>
                    <a:schemeClr val="bg2"/>
                  </a:solidFill>
                  <a:effectLst/>
                  <a:uFillTx/>
                  <a:latin typeface="IntelOne Display Medium" panose="020B0703020203020204" pitchFamily="34" charset="0"/>
                  <a:ea typeface="Helvetica Neue Medium"/>
                  <a:cs typeface="Helvetica Neue Medium"/>
                  <a:sym typeface="Helvetica Neue Medium"/>
                </a:rPr>
                <a:t>Lekha</a:t>
              </a:r>
              <a:r>
                <a:rPr kumimoji="0" lang="en-IN" sz="1000" b="0" i="0" u="none" strike="noStrike" cap="none" spc="0" normalizeH="0" baseline="0" dirty="0">
                  <a:ln>
                    <a:noFill/>
                  </a:ln>
                  <a:solidFill>
                    <a:schemeClr val="bg2"/>
                  </a:solidFill>
                  <a:effectLst/>
                  <a:uFillTx/>
                  <a:latin typeface="IntelOne Display Medium" panose="020B0703020203020204" pitchFamily="34" charset="0"/>
                  <a:ea typeface="Helvetica Neue Medium"/>
                  <a:cs typeface="Helvetica Neue Medium"/>
                  <a:sym typeface="Helvetica Neue Medium"/>
                </a:rPr>
                <a:t> CU-UP</a:t>
              </a:r>
            </a:p>
          </p:txBody>
        </p:sp>
        <p:grpSp>
          <p:nvGrpSpPr>
            <p:cNvPr id="160" name="Group 159">
              <a:extLst>
                <a:ext uri="{FF2B5EF4-FFF2-40B4-BE49-F238E27FC236}">
                  <a16:creationId xmlns:a16="http://schemas.microsoft.com/office/drawing/2014/main" id="{E148A346-E8DA-A383-A726-12F8CB45823D}"/>
                </a:ext>
              </a:extLst>
            </p:cNvPr>
            <p:cNvGrpSpPr/>
            <p:nvPr/>
          </p:nvGrpSpPr>
          <p:grpSpPr>
            <a:xfrm>
              <a:off x="969051" y="2584490"/>
              <a:ext cx="763532" cy="648464"/>
              <a:chOff x="-1274085" y="3631540"/>
              <a:chExt cx="1190625" cy="1011193"/>
            </a:xfrm>
          </p:grpSpPr>
          <p:sp>
            <p:nvSpPr>
              <p:cNvPr id="212" name="Freeform: Shape 211">
                <a:extLst>
                  <a:ext uri="{FF2B5EF4-FFF2-40B4-BE49-F238E27FC236}">
                    <a16:creationId xmlns:a16="http://schemas.microsoft.com/office/drawing/2014/main" id="{C3828CF6-770D-DD81-270E-3DF58661D802}"/>
                  </a:ext>
                </a:extLst>
              </p:cNvPr>
              <p:cNvSpPr/>
              <p:nvPr/>
            </p:nvSpPr>
            <p:spPr>
              <a:xfrm>
                <a:off x="-1001268" y="4245506"/>
                <a:ext cx="617937" cy="176772"/>
              </a:xfrm>
              <a:custGeom>
                <a:avLst/>
                <a:gdLst>
                  <a:gd name="connsiteX0" fmla="*/ 0 w 5069015"/>
                  <a:gd name="connsiteY0" fmla="*/ 0 h 1450086"/>
                  <a:gd name="connsiteX1" fmla="*/ 4468178 w 5069015"/>
                  <a:gd name="connsiteY1" fmla="*/ 0 h 1450086"/>
                  <a:gd name="connsiteX2" fmla="*/ 4468178 w 5069015"/>
                  <a:gd name="connsiteY2" fmla="*/ 219075 h 1450086"/>
                  <a:gd name="connsiteX3" fmla="*/ 219075 w 5069015"/>
                  <a:gd name="connsiteY3" fmla="*/ 219075 h 1450086"/>
                  <a:gd name="connsiteX4" fmla="*/ 219075 w 5069015"/>
                  <a:gd name="connsiteY4" fmla="*/ 1231011 h 1450086"/>
                  <a:gd name="connsiteX5" fmla="*/ 4849940 w 5069015"/>
                  <a:gd name="connsiteY5" fmla="*/ 1231011 h 1450086"/>
                  <a:gd name="connsiteX6" fmla="*/ 4849940 w 5069015"/>
                  <a:gd name="connsiteY6" fmla="*/ 470464 h 1450086"/>
                  <a:gd name="connsiteX7" fmla="*/ 5069015 w 5069015"/>
                  <a:gd name="connsiteY7" fmla="*/ 470464 h 1450086"/>
                  <a:gd name="connsiteX8" fmla="*/ 5069015 w 5069015"/>
                  <a:gd name="connsiteY8" fmla="*/ 1450086 h 1450086"/>
                  <a:gd name="connsiteX9" fmla="*/ 0 w 5069015"/>
                  <a:gd name="connsiteY9" fmla="*/ 1450086 h 145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5" h="1450086">
                    <a:moveTo>
                      <a:pt x="0" y="0"/>
                    </a:moveTo>
                    <a:lnTo>
                      <a:pt x="4468178" y="0"/>
                    </a:lnTo>
                    <a:lnTo>
                      <a:pt x="4468178" y="219075"/>
                    </a:lnTo>
                    <a:lnTo>
                      <a:pt x="219075" y="219075"/>
                    </a:lnTo>
                    <a:lnTo>
                      <a:pt x="219075" y="1231011"/>
                    </a:lnTo>
                    <a:lnTo>
                      <a:pt x="4849940" y="1231011"/>
                    </a:lnTo>
                    <a:lnTo>
                      <a:pt x="4849940" y="470464"/>
                    </a:lnTo>
                    <a:lnTo>
                      <a:pt x="5069015" y="470464"/>
                    </a:lnTo>
                    <a:lnTo>
                      <a:pt x="5069015" y="1450086"/>
                    </a:lnTo>
                    <a:lnTo>
                      <a:pt x="0" y="1450086"/>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13" name="Freeform: Shape 212">
                <a:extLst>
                  <a:ext uri="{FF2B5EF4-FFF2-40B4-BE49-F238E27FC236}">
                    <a16:creationId xmlns:a16="http://schemas.microsoft.com/office/drawing/2014/main" id="{3E9B193A-A12D-13F8-1066-2033E28D8B29}"/>
                  </a:ext>
                </a:extLst>
              </p:cNvPr>
              <p:cNvSpPr/>
              <p:nvPr/>
            </p:nvSpPr>
            <p:spPr>
              <a:xfrm>
                <a:off x="-947368" y="4320539"/>
                <a:ext cx="174450" cy="26706"/>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14" name="Freeform: Shape 213">
                <a:extLst>
                  <a:ext uri="{FF2B5EF4-FFF2-40B4-BE49-F238E27FC236}">
                    <a16:creationId xmlns:a16="http://schemas.microsoft.com/office/drawing/2014/main" id="{EFA5DCD9-FA19-B24E-6F53-F21B4D48871D}"/>
                  </a:ext>
                </a:extLst>
              </p:cNvPr>
              <p:cNvSpPr/>
              <p:nvPr/>
            </p:nvSpPr>
            <p:spPr>
              <a:xfrm>
                <a:off x="-678772"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15" name="Freeform: Shape 214">
                <a:extLst>
                  <a:ext uri="{FF2B5EF4-FFF2-40B4-BE49-F238E27FC236}">
                    <a16:creationId xmlns:a16="http://schemas.microsoft.com/office/drawing/2014/main" id="{A0B829ED-B048-98C9-153F-CC1C416193BE}"/>
                  </a:ext>
                </a:extLst>
              </p:cNvPr>
              <p:cNvSpPr/>
              <p:nvPr/>
            </p:nvSpPr>
            <p:spPr>
              <a:xfrm>
                <a:off x="-625023"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16" name="Freeform: Shape 215">
                <a:extLst>
                  <a:ext uri="{FF2B5EF4-FFF2-40B4-BE49-F238E27FC236}">
                    <a16:creationId xmlns:a16="http://schemas.microsoft.com/office/drawing/2014/main" id="{E46DB527-F4E2-8843-0FBD-43229D4CC966}"/>
                  </a:ext>
                </a:extLst>
              </p:cNvPr>
              <p:cNvSpPr/>
              <p:nvPr/>
            </p:nvSpPr>
            <p:spPr>
              <a:xfrm>
                <a:off x="-571285"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17" name="Freeform: Shape 216">
                <a:extLst>
                  <a:ext uri="{FF2B5EF4-FFF2-40B4-BE49-F238E27FC236}">
                    <a16:creationId xmlns:a16="http://schemas.microsoft.com/office/drawing/2014/main" id="{8472F862-CB6E-C2D8-DCD1-AEE8BF5D4208}"/>
                  </a:ext>
                </a:extLst>
              </p:cNvPr>
              <p:cNvSpPr/>
              <p:nvPr/>
            </p:nvSpPr>
            <p:spPr>
              <a:xfrm>
                <a:off x="-517536"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18" name="Freeform: Shape 217">
                <a:extLst>
                  <a:ext uri="{FF2B5EF4-FFF2-40B4-BE49-F238E27FC236}">
                    <a16:creationId xmlns:a16="http://schemas.microsoft.com/office/drawing/2014/main" id="{9771C6DB-8EA4-204E-9F85-980E34D1ACBF}"/>
                  </a:ext>
                </a:extLst>
              </p:cNvPr>
              <p:cNvSpPr/>
              <p:nvPr/>
            </p:nvSpPr>
            <p:spPr>
              <a:xfrm>
                <a:off x="-1001268" y="4465961"/>
                <a:ext cx="617937" cy="176772"/>
              </a:xfrm>
              <a:custGeom>
                <a:avLst/>
                <a:gdLst>
                  <a:gd name="connsiteX0" fmla="*/ 5069015 w 5069014"/>
                  <a:gd name="connsiteY0" fmla="*/ 1449991 h 1450085"/>
                  <a:gd name="connsiteX1" fmla="*/ 0 w 5069014"/>
                  <a:gd name="connsiteY1" fmla="*/ 1449991 h 1450085"/>
                  <a:gd name="connsiteX2" fmla="*/ 0 w 5069014"/>
                  <a:gd name="connsiteY2" fmla="*/ 0 h 1450085"/>
                  <a:gd name="connsiteX3" fmla="*/ 5069015 w 5069014"/>
                  <a:gd name="connsiteY3" fmla="*/ 0 h 1450085"/>
                  <a:gd name="connsiteX4" fmla="*/ 5069015 w 5069014"/>
                  <a:gd name="connsiteY4" fmla="*/ 1450086 h 1450085"/>
                  <a:gd name="connsiteX5" fmla="*/ 219075 w 5069014"/>
                  <a:gd name="connsiteY5" fmla="*/ 1230916 h 1450085"/>
                  <a:gd name="connsiteX6" fmla="*/ 4849940 w 5069014"/>
                  <a:gd name="connsiteY6" fmla="*/ 1230916 h 1450085"/>
                  <a:gd name="connsiteX7" fmla="*/ 4849940 w 5069014"/>
                  <a:gd name="connsiteY7" fmla="*/ 218980 h 1450085"/>
                  <a:gd name="connsiteX8" fmla="*/ 219075 w 5069014"/>
                  <a:gd name="connsiteY8" fmla="*/ 218980 h 1450085"/>
                  <a:gd name="connsiteX9" fmla="*/ 219075 w 5069014"/>
                  <a:gd name="connsiteY9" fmla="*/ 1230916 h 145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4" h="1450085">
                    <a:moveTo>
                      <a:pt x="5069015" y="1449991"/>
                    </a:moveTo>
                    <a:lnTo>
                      <a:pt x="0" y="1449991"/>
                    </a:lnTo>
                    <a:lnTo>
                      <a:pt x="0" y="0"/>
                    </a:lnTo>
                    <a:lnTo>
                      <a:pt x="5069015" y="0"/>
                    </a:lnTo>
                    <a:lnTo>
                      <a:pt x="5069015" y="1450086"/>
                    </a:lnTo>
                    <a:close/>
                    <a:moveTo>
                      <a:pt x="219075" y="1230916"/>
                    </a:moveTo>
                    <a:lnTo>
                      <a:pt x="4849940" y="1230916"/>
                    </a:lnTo>
                    <a:lnTo>
                      <a:pt x="4849940" y="218980"/>
                    </a:lnTo>
                    <a:lnTo>
                      <a:pt x="219075" y="218980"/>
                    </a:lnTo>
                    <a:lnTo>
                      <a:pt x="219075" y="1230916"/>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19" name="Freeform: Shape 218">
                <a:extLst>
                  <a:ext uri="{FF2B5EF4-FFF2-40B4-BE49-F238E27FC236}">
                    <a16:creationId xmlns:a16="http://schemas.microsoft.com/office/drawing/2014/main" id="{E6C7023E-362E-3152-F9EE-115E90C625C1}"/>
                  </a:ext>
                </a:extLst>
              </p:cNvPr>
              <p:cNvSpPr/>
              <p:nvPr/>
            </p:nvSpPr>
            <p:spPr>
              <a:xfrm>
                <a:off x="-947368" y="4540982"/>
                <a:ext cx="174450" cy="26706"/>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20" name="Freeform: Shape 219">
                <a:extLst>
                  <a:ext uri="{FF2B5EF4-FFF2-40B4-BE49-F238E27FC236}">
                    <a16:creationId xmlns:a16="http://schemas.microsoft.com/office/drawing/2014/main" id="{A2BA7E16-AA64-A9E4-AE8D-C4C504E9A133}"/>
                  </a:ext>
                </a:extLst>
              </p:cNvPr>
              <p:cNvSpPr/>
              <p:nvPr/>
            </p:nvSpPr>
            <p:spPr>
              <a:xfrm>
                <a:off x="-678772"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21" name="Freeform: Shape 220">
                <a:extLst>
                  <a:ext uri="{FF2B5EF4-FFF2-40B4-BE49-F238E27FC236}">
                    <a16:creationId xmlns:a16="http://schemas.microsoft.com/office/drawing/2014/main" id="{FE9D14F5-3313-7E39-1541-0A4EBB08BBE0}"/>
                  </a:ext>
                </a:extLst>
              </p:cNvPr>
              <p:cNvSpPr/>
              <p:nvPr/>
            </p:nvSpPr>
            <p:spPr>
              <a:xfrm>
                <a:off x="-625023"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22" name="Freeform: Shape 221">
                <a:extLst>
                  <a:ext uri="{FF2B5EF4-FFF2-40B4-BE49-F238E27FC236}">
                    <a16:creationId xmlns:a16="http://schemas.microsoft.com/office/drawing/2014/main" id="{FAD01AF9-0DF8-3E79-424D-6A16AE3D34D2}"/>
                  </a:ext>
                </a:extLst>
              </p:cNvPr>
              <p:cNvSpPr/>
              <p:nvPr/>
            </p:nvSpPr>
            <p:spPr>
              <a:xfrm>
                <a:off x="-571285"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23" name="Freeform: Shape 222">
                <a:extLst>
                  <a:ext uri="{FF2B5EF4-FFF2-40B4-BE49-F238E27FC236}">
                    <a16:creationId xmlns:a16="http://schemas.microsoft.com/office/drawing/2014/main" id="{27267EC8-4702-EADD-AB7B-DCB40A9B7B66}"/>
                  </a:ext>
                </a:extLst>
              </p:cNvPr>
              <p:cNvSpPr/>
              <p:nvPr/>
            </p:nvSpPr>
            <p:spPr>
              <a:xfrm>
                <a:off x="-517536"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24" name="Freeform: Shape 223">
                <a:extLst>
                  <a:ext uri="{FF2B5EF4-FFF2-40B4-BE49-F238E27FC236}">
                    <a16:creationId xmlns:a16="http://schemas.microsoft.com/office/drawing/2014/main" id="{C0CCF7AD-D82E-3421-A210-9EEB47D3D935}"/>
                  </a:ext>
                </a:extLst>
              </p:cNvPr>
              <p:cNvSpPr/>
              <p:nvPr/>
            </p:nvSpPr>
            <p:spPr>
              <a:xfrm>
                <a:off x="-418595" y="4238551"/>
                <a:ext cx="38759" cy="38759"/>
              </a:xfrm>
              <a:custGeom>
                <a:avLst/>
                <a:gdLst>
                  <a:gd name="connsiteX0" fmla="*/ 0 w 317944"/>
                  <a:gd name="connsiteY0" fmla="*/ 0 h 317944"/>
                  <a:gd name="connsiteX1" fmla="*/ 317945 w 317944"/>
                  <a:gd name="connsiteY1" fmla="*/ 0 h 317944"/>
                  <a:gd name="connsiteX2" fmla="*/ 317945 w 317944"/>
                  <a:gd name="connsiteY2" fmla="*/ 317945 h 317944"/>
                  <a:gd name="connsiteX3" fmla="*/ 0 w 317944"/>
                  <a:gd name="connsiteY3" fmla="*/ 317945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5" y="0"/>
                    </a:lnTo>
                    <a:lnTo>
                      <a:pt x="317945" y="317945"/>
                    </a:lnTo>
                    <a:lnTo>
                      <a:pt x="0" y="31794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25" name="Freeform: Shape 224">
                <a:extLst>
                  <a:ext uri="{FF2B5EF4-FFF2-40B4-BE49-F238E27FC236}">
                    <a16:creationId xmlns:a16="http://schemas.microsoft.com/office/drawing/2014/main" id="{C5AA4814-4F4D-8CE9-382F-196BD3C8BF9E}"/>
                  </a:ext>
                </a:extLst>
              </p:cNvPr>
              <p:cNvSpPr/>
              <p:nvPr/>
            </p:nvSpPr>
            <p:spPr>
              <a:xfrm>
                <a:off x="-507160" y="4245506"/>
                <a:ext cx="78881" cy="26706"/>
              </a:xfrm>
              <a:custGeom>
                <a:avLst/>
                <a:gdLst>
                  <a:gd name="connsiteX0" fmla="*/ 0 w 647074"/>
                  <a:gd name="connsiteY0" fmla="*/ 0 h 219075"/>
                  <a:gd name="connsiteX1" fmla="*/ 647074 w 647074"/>
                  <a:gd name="connsiteY1" fmla="*/ 0 h 219075"/>
                  <a:gd name="connsiteX2" fmla="*/ 647074 w 647074"/>
                  <a:gd name="connsiteY2" fmla="*/ 219075 h 219075"/>
                  <a:gd name="connsiteX3" fmla="*/ 0 w 647074"/>
                  <a:gd name="connsiteY3" fmla="*/ 219075 h 219075"/>
                  <a:gd name="connsiteX4" fmla="*/ 0 w 647074"/>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074" h="219075">
                    <a:moveTo>
                      <a:pt x="0" y="0"/>
                    </a:moveTo>
                    <a:lnTo>
                      <a:pt x="647074" y="0"/>
                    </a:lnTo>
                    <a:lnTo>
                      <a:pt x="647074" y="219075"/>
                    </a:lnTo>
                    <a:lnTo>
                      <a:pt x="0" y="219075"/>
                    </a:lnTo>
                    <a:lnTo>
                      <a:pt x="0" y="0"/>
                    </a:lnTo>
                    <a:close/>
                  </a:path>
                </a:pathLst>
              </a:custGeom>
              <a:gradFill>
                <a:gsLst>
                  <a:gs pos="53000">
                    <a:srgbClr val="DCDCDC"/>
                  </a:gs>
                  <a:gs pos="15000">
                    <a:schemeClr val="bg1"/>
                  </a:gs>
                </a:gsLst>
                <a:lin ang="10800000" scaled="0"/>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26" name="Freeform: Shape 225">
                <a:extLst>
                  <a:ext uri="{FF2B5EF4-FFF2-40B4-BE49-F238E27FC236}">
                    <a16:creationId xmlns:a16="http://schemas.microsoft.com/office/drawing/2014/main" id="{00F72729-387B-67A5-2594-6B3297CA1EAE}"/>
                  </a:ext>
                </a:extLst>
              </p:cNvPr>
              <p:cNvSpPr/>
              <p:nvPr/>
            </p:nvSpPr>
            <p:spPr>
              <a:xfrm>
                <a:off x="-410037" y="4286982"/>
                <a:ext cx="26706" cy="82320"/>
              </a:xfrm>
              <a:custGeom>
                <a:avLst/>
                <a:gdLst>
                  <a:gd name="connsiteX0" fmla="*/ 0 w 219075"/>
                  <a:gd name="connsiteY0" fmla="*/ 0 h 675280"/>
                  <a:gd name="connsiteX1" fmla="*/ 219075 w 219075"/>
                  <a:gd name="connsiteY1" fmla="*/ 0 h 675280"/>
                  <a:gd name="connsiteX2" fmla="*/ 219075 w 219075"/>
                  <a:gd name="connsiteY2" fmla="*/ 675280 h 675280"/>
                  <a:gd name="connsiteX3" fmla="*/ 0 w 219075"/>
                  <a:gd name="connsiteY3" fmla="*/ 675280 h 675280"/>
                  <a:gd name="connsiteX4" fmla="*/ 0 w 219075"/>
                  <a:gd name="connsiteY4" fmla="*/ 0 h 6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75280">
                    <a:moveTo>
                      <a:pt x="0" y="0"/>
                    </a:moveTo>
                    <a:lnTo>
                      <a:pt x="219075" y="0"/>
                    </a:lnTo>
                    <a:lnTo>
                      <a:pt x="219075" y="675280"/>
                    </a:lnTo>
                    <a:lnTo>
                      <a:pt x="0" y="675280"/>
                    </a:lnTo>
                    <a:lnTo>
                      <a:pt x="0" y="0"/>
                    </a:lnTo>
                    <a:close/>
                  </a:path>
                </a:pathLst>
              </a:custGeom>
              <a:gradFill>
                <a:gsLst>
                  <a:gs pos="63000">
                    <a:srgbClr val="DCDCDC"/>
                  </a:gs>
                  <a:gs pos="21000">
                    <a:schemeClr val="bg1"/>
                  </a:gs>
                </a:gsLst>
                <a:lin ang="6000000" scaled="0"/>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pic>
            <p:nvPicPr>
              <p:cNvPr id="227" name="Graphic 226">
                <a:extLst>
                  <a:ext uri="{FF2B5EF4-FFF2-40B4-BE49-F238E27FC236}">
                    <a16:creationId xmlns:a16="http://schemas.microsoft.com/office/drawing/2014/main" id="{53A518B9-41D6-808A-CB81-BA79AC887A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4085" y="3631540"/>
                <a:ext cx="1190625" cy="723900"/>
              </a:xfrm>
              <a:prstGeom prst="rect">
                <a:avLst/>
              </a:prstGeom>
            </p:spPr>
          </p:pic>
        </p:grpSp>
        <p:sp>
          <p:nvSpPr>
            <p:cNvPr id="161" name="Rectangle 160">
              <a:extLst>
                <a:ext uri="{FF2B5EF4-FFF2-40B4-BE49-F238E27FC236}">
                  <a16:creationId xmlns:a16="http://schemas.microsoft.com/office/drawing/2014/main" id="{E4EE6FA0-37C6-6D9D-6B23-15EB57008F12}"/>
                </a:ext>
              </a:extLst>
            </p:cNvPr>
            <p:cNvSpPr/>
            <p:nvPr/>
          </p:nvSpPr>
          <p:spPr>
            <a:xfrm>
              <a:off x="1137360" y="2728969"/>
              <a:ext cx="460428"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Central Cloud</a:t>
              </a:r>
            </a:p>
          </p:txBody>
        </p:sp>
        <p:grpSp>
          <p:nvGrpSpPr>
            <p:cNvPr id="164" name="Group 163">
              <a:extLst>
                <a:ext uri="{FF2B5EF4-FFF2-40B4-BE49-F238E27FC236}">
                  <a16:creationId xmlns:a16="http://schemas.microsoft.com/office/drawing/2014/main" id="{C33268E1-C756-E372-0045-872B20447F46}"/>
                </a:ext>
              </a:extLst>
            </p:cNvPr>
            <p:cNvGrpSpPr/>
            <p:nvPr/>
          </p:nvGrpSpPr>
          <p:grpSpPr>
            <a:xfrm>
              <a:off x="969051" y="4231680"/>
              <a:ext cx="763532" cy="648464"/>
              <a:chOff x="-1274085" y="3631540"/>
              <a:chExt cx="1190625" cy="1011193"/>
            </a:xfrm>
          </p:grpSpPr>
          <p:sp>
            <p:nvSpPr>
              <p:cNvPr id="196" name="Freeform: Shape 195">
                <a:extLst>
                  <a:ext uri="{FF2B5EF4-FFF2-40B4-BE49-F238E27FC236}">
                    <a16:creationId xmlns:a16="http://schemas.microsoft.com/office/drawing/2014/main" id="{07909539-E391-5FB6-65CF-D6C7AFC14057}"/>
                  </a:ext>
                </a:extLst>
              </p:cNvPr>
              <p:cNvSpPr/>
              <p:nvPr/>
            </p:nvSpPr>
            <p:spPr>
              <a:xfrm>
                <a:off x="-1001268" y="4245506"/>
                <a:ext cx="617937" cy="176772"/>
              </a:xfrm>
              <a:custGeom>
                <a:avLst/>
                <a:gdLst>
                  <a:gd name="connsiteX0" fmla="*/ 0 w 5069015"/>
                  <a:gd name="connsiteY0" fmla="*/ 0 h 1450086"/>
                  <a:gd name="connsiteX1" fmla="*/ 4468178 w 5069015"/>
                  <a:gd name="connsiteY1" fmla="*/ 0 h 1450086"/>
                  <a:gd name="connsiteX2" fmla="*/ 4468178 w 5069015"/>
                  <a:gd name="connsiteY2" fmla="*/ 219075 h 1450086"/>
                  <a:gd name="connsiteX3" fmla="*/ 219075 w 5069015"/>
                  <a:gd name="connsiteY3" fmla="*/ 219075 h 1450086"/>
                  <a:gd name="connsiteX4" fmla="*/ 219075 w 5069015"/>
                  <a:gd name="connsiteY4" fmla="*/ 1231011 h 1450086"/>
                  <a:gd name="connsiteX5" fmla="*/ 4849940 w 5069015"/>
                  <a:gd name="connsiteY5" fmla="*/ 1231011 h 1450086"/>
                  <a:gd name="connsiteX6" fmla="*/ 4849940 w 5069015"/>
                  <a:gd name="connsiteY6" fmla="*/ 470464 h 1450086"/>
                  <a:gd name="connsiteX7" fmla="*/ 5069015 w 5069015"/>
                  <a:gd name="connsiteY7" fmla="*/ 470464 h 1450086"/>
                  <a:gd name="connsiteX8" fmla="*/ 5069015 w 5069015"/>
                  <a:gd name="connsiteY8" fmla="*/ 1450086 h 1450086"/>
                  <a:gd name="connsiteX9" fmla="*/ 0 w 5069015"/>
                  <a:gd name="connsiteY9" fmla="*/ 1450086 h 145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5" h="1450086">
                    <a:moveTo>
                      <a:pt x="0" y="0"/>
                    </a:moveTo>
                    <a:lnTo>
                      <a:pt x="4468178" y="0"/>
                    </a:lnTo>
                    <a:lnTo>
                      <a:pt x="4468178" y="219075"/>
                    </a:lnTo>
                    <a:lnTo>
                      <a:pt x="219075" y="219075"/>
                    </a:lnTo>
                    <a:lnTo>
                      <a:pt x="219075" y="1231011"/>
                    </a:lnTo>
                    <a:lnTo>
                      <a:pt x="4849940" y="1231011"/>
                    </a:lnTo>
                    <a:lnTo>
                      <a:pt x="4849940" y="470464"/>
                    </a:lnTo>
                    <a:lnTo>
                      <a:pt x="5069015" y="470464"/>
                    </a:lnTo>
                    <a:lnTo>
                      <a:pt x="5069015" y="1450086"/>
                    </a:lnTo>
                    <a:lnTo>
                      <a:pt x="0" y="1450086"/>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197" name="Freeform: Shape 196">
                <a:extLst>
                  <a:ext uri="{FF2B5EF4-FFF2-40B4-BE49-F238E27FC236}">
                    <a16:creationId xmlns:a16="http://schemas.microsoft.com/office/drawing/2014/main" id="{519AE223-3BCC-ED4B-F28D-642725387D2C}"/>
                  </a:ext>
                </a:extLst>
              </p:cNvPr>
              <p:cNvSpPr/>
              <p:nvPr/>
            </p:nvSpPr>
            <p:spPr>
              <a:xfrm>
                <a:off x="-947368" y="4320539"/>
                <a:ext cx="174450" cy="26706"/>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198" name="Freeform: Shape 197">
                <a:extLst>
                  <a:ext uri="{FF2B5EF4-FFF2-40B4-BE49-F238E27FC236}">
                    <a16:creationId xmlns:a16="http://schemas.microsoft.com/office/drawing/2014/main" id="{5E6E4B7B-AB2C-E967-751B-04C54F8139BF}"/>
                  </a:ext>
                </a:extLst>
              </p:cNvPr>
              <p:cNvSpPr/>
              <p:nvPr/>
            </p:nvSpPr>
            <p:spPr>
              <a:xfrm>
                <a:off x="-678772"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199" name="Freeform: Shape 198">
                <a:extLst>
                  <a:ext uri="{FF2B5EF4-FFF2-40B4-BE49-F238E27FC236}">
                    <a16:creationId xmlns:a16="http://schemas.microsoft.com/office/drawing/2014/main" id="{0A43FFAE-AA60-707A-90E5-99486413D953}"/>
                  </a:ext>
                </a:extLst>
              </p:cNvPr>
              <p:cNvSpPr/>
              <p:nvPr/>
            </p:nvSpPr>
            <p:spPr>
              <a:xfrm>
                <a:off x="-625023"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0" name="Freeform: Shape 199">
                <a:extLst>
                  <a:ext uri="{FF2B5EF4-FFF2-40B4-BE49-F238E27FC236}">
                    <a16:creationId xmlns:a16="http://schemas.microsoft.com/office/drawing/2014/main" id="{40F9EBFE-E550-772F-5A45-81943B486F97}"/>
                  </a:ext>
                </a:extLst>
              </p:cNvPr>
              <p:cNvSpPr/>
              <p:nvPr/>
            </p:nvSpPr>
            <p:spPr>
              <a:xfrm>
                <a:off x="-571285"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1" name="Freeform: Shape 200">
                <a:extLst>
                  <a:ext uri="{FF2B5EF4-FFF2-40B4-BE49-F238E27FC236}">
                    <a16:creationId xmlns:a16="http://schemas.microsoft.com/office/drawing/2014/main" id="{60FDEEE2-5DC9-C4A4-57D2-AB4D555E117E}"/>
                  </a:ext>
                </a:extLst>
              </p:cNvPr>
              <p:cNvSpPr/>
              <p:nvPr/>
            </p:nvSpPr>
            <p:spPr>
              <a:xfrm>
                <a:off x="-517536" y="4302541"/>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2" name="Freeform: Shape 201">
                <a:extLst>
                  <a:ext uri="{FF2B5EF4-FFF2-40B4-BE49-F238E27FC236}">
                    <a16:creationId xmlns:a16="http://schemas.microsoft.com/office/drawing/2014/main" id="{4E75C021-3436-9C45-4ED7-22A27732EABA}"/>
                  </a:ext>
                </a:extLst>
              </p:cNvPr>
              <p:cNvSpPr/>
              <p:nvPr/>
            </p:nvSpPr>
            <p:spPr>
              <a:xfrm>
                <a:off x="-1001268" y="4465961"/>
                <a:ext cx="617937" cy="176772"/>
              </a:xfrm>
              <a:custGeom>
                <a:avLst/>
                <a:gdLst>
                  <a:gd name="connsiteX0" fmla="*/ 5069015 w 5069014"/>
                  <a:gd name="connsiteY0" fmla="*/ 1449991 h 1450085"/>
                  <a:gd name="connsiteX1" fmla="*/ 0 w 5069014"/>
                  <a:gd name="connsiteY1" fmla="*/ 1449991 h 1450085"/>
                  <a:gd name="connsiteX2" fmla="*/ 0 w 5069014"/>
                  <a:gd name="connsiteY2" fmla="*/ 0 h 1450085"/>
                  <a:gd name="connsiteX3" fmla="*/ 5069015 w 5069014"/>
                  <a:gd name="connsiteY3" fmla="*/ 0 h 1450085"/>
                  <a:gd name="connsiteX4" fmla="*/ 5069015 w 5069014"/>
                  <a:gd name="connsiteY4" fmla="*/ 1450086 h 1450085"/>
                  <a:gd name="connsiteX5" fmla="*/ 219075 w 5069014"/>
                  <a:gd name="connsiteY5" fmla="*/ 1230916 h 1450085"/>
                  <a:gd name="connsiteX6" fmla="*/ 4849940 w 5069014"/>
                  <a:gd name="connsiteY6" fmla="*/ 1230916 h 1450085"/>
                  <a:gd name="connsiteX7" fmla="*/ 4849940 w 5069014"/>
                  <a:gd name="connsiteY7" fmla="*/ 218980 h 1450085"/>
                  <a:gd name="connsiteX8" fmla="*/ 219075 w 5069014"/>
                  <a:gd name="connsiteY8" fmla="*/ 218980 h 1450085"/>
                  <a:gd name="connsiteX9" fmla="*/ 219075 w 5069014"/>
                  <a:gd name="connsiteY9" fmla="*/ 1230916 h 145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9014" h="1450085">
                    <a:moveTo>
                      <a:pt x="5069015" y="1449991"/>
                    </a:moveTo>
                    <a:lnTo>
                      <a:pt x="0" y="1449991"/>
                    </a:lnTo>
                    <a:lnTo>
                      <a:pt x="0" y="0"/>
                    </a:lnTo>
                    <a:lnTo>
                      <a:pt x="5069015" y="0"/>
                    </a:lnTo>
                    <a:lnTo>
                      <a:pt x="5069015" y="1450086"/>
                    </a:lnTo>
                    <a:close/>
                    <a:moveTo>
                      <a:pt x="219075" y="1230916"/>
                    </a:moveTo>
                    <a:lnTo>
                      <a:pt x="4849940" y="1230916"/>
                    </a:lnTo>
                    <a:lnTo>
                      <a:pt x="4849940" y="218980"/>
                    </a:lnTo>
                    <a:lnTo>
                      <a:pt x="219075" y="218980"/>
                    </a:lnTo>
                    <a:lnTo>
                      <a:pt x="219075" y="1230916"/>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03" name="Freeform: Shape 202">
                <a:extLst>
                  <a:ext uri="{FF2B5EF4-FFF2-40B4-BE49-F238E27FC236}">
                    <a16:creationId xmlns:a16="http://schemas.microsoft.com/office/drawing/2014/main" id="{8EE2F2C6-044B-BD1B-838F-245EF675637D}"/>
                  </a:ext>
                </a:extLst>
              </p:cNvPr>
              <p:cNvSpPr/>
              <p:nvPr/>
            </p:nvSpPr>
            <p:spPr>
              <a:xfrm>
                <a:off x="-947368" y="4540982"/>
                <a:ext cx="174450" cy="26706"/>
              </a:xfrm>
              <a:custGeom>
                <a:avLst/>
                <a:gdLst>
                  <a:gd name="connsiteX0" fmla="*/ 0 w 1431036"/>
                  <a:gd name="connsiteY0" fmla="*/ 0 h 219075"/>
                  <a:gd name="connsiteX1" fmla="*/ 1431036 w 1431036"/>
                  <a:gd name="connsiteY1" fmla="*/ 0 h 219075"/>
                  <a:gd name="connsiteX2" fmla="*/ 1431036 w 1431036"/>
                  <a:gd name="connsiteY2" fmla="*/ 219075 h 219075"/>
                  <a:gd name="connsiteX3" fmla="*/ 0 w 1431036"/>
                  <a:gd name="connsiteY3" fmla="*/ 219075 h 219075"/>
                </a:gdLst>
                <a:ahLst/>
                <a:cxnLst>
                  <a:cxn ang="0">
                    <a:pos x="connsiteX0" y="connsiteY0"/>
                  </a:cxn>
                  <a:cxn ang="0">
                    <a:pos x="connsiteX1" y="connsiteY1"/>
                  </a:cxn>
                  <a:cxn ang="0">
                    <a:pos x="connsiteX2" y="connsiteY2"/>
                  </a:cxn>
                  <a:cxn ang="0">
                    <a:pos x="connsiteX3" y="connsiteY3"/>
                  </a:cxn>
                </a:cxnLst>
                <a:rect l="l" t="t" r="r" b="b"/>
                <a:pathLst>
                  <a:path w="1431036" h="219075">
                    <a:moveTo>
                      <a:pt x="0" y="0"/>
                    </a:moveTo>
                    <a:lnTo>
                      <a:pt x="1431036" y="0"/>
                    </a:lnTo>
                    <a:lnTo>
                      <a:pt x="1431036" y="219075"/>
                    </a:lnTo>
                    <a:lnTo>
                      <a:pt x="0" y="21907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4" name="Freeform: Shape 203">
                <a:extLst>
                  <a:ext uri="{FF2B5EF4-FFF2-40B4-BE49-F238E27FC236}">
                    <a16:creationId xmlns:a16="http://schemas.microsoft.com/office/drawing/2014/main" id="{D03D0D98-FD2E-1642-F0DC-7AFA78D09647}"/>
                  </a:ext>
                </a:extLst>
              </p:cNvPr>
              <p:cNvSpPr/>
              <p:nvPr/>
            </p:nvSpPr>
            <p:spPr>
              <a:xfrm>
                <a:off x="-678772"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5" name="Freeform: Shape 204">
                <a:extLst>
                  <a:ext uri="{FF2B5EF4-FFF2-40B4-BE49-F238E27FC236}">
                    <a16:creationId xmlns:a16="http://schemas.microsoft.com/office/drawing/2014/main" id="{CF71AACC-49DF-EFA8-3263-ABCCB667E877}"/>
                  </a:ext>
                </a:extLst>
              </p:cNvPr>
              <p:cNvSpPr/>
              <p:nvPr/>
            </p:nvSpPr>
            <p:spPr>
              <a:xfrm>
                <a:off x="-625023"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6" name="Freeform: Shape 205">
                <a:extLst>
                  <a:ext uri="{FF2B5EF4-FFF2-40B4-BE49-F238E27FC236}">
                    <a16:creationId xmlns:a16="http://schemas.microsoft.com/office/drawing/2014/main" id="{E2248F4A-CB47-81EB-EB2C-EEC1C8897CD6}"/>
                  </a:ext>
                </a:extLst>
              </p:cNvPr>
              <p:cNvSpPr/>
              <p:nvPr/>
            </p:nvSpPr>
            <p:spPr>
              <a:xfrm>
                <a:off x="-571285"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7" name="Freeform: Shape 206">
                <a:extLst>
                  <a:ext uri="{FF2B5EF4-FFF2-40B4-BE49-F238E27FC236}">
                    <a16:creationId xmlns:a16="http://schemas.microsoft.com/office/drawing/2014/main" id="{13D260A5-FCFB-C809-D706-85279093AC56}"/>
                  </a:ext>
                </a:extLst>
              </p:cNvPr>
              <p:cNvSpPr/>
              <p:nvPr/>
            </p:nvSpPr>
            <p:spPr>
              <a:xfrm>
                <a:off x="-517536" y="4522985"/>
                <a:ext cx="26706" cy="62702"/>
              </a:xfrm>
              <a:custGeom>
                <a:avLst/>
                <a:gdLst>
                  <a:gd name="connsiteX0" fmla="*/ 0 w 219075"/>
                  <a:gd name="connsiteY0" fmla="*/ 0 h 514350"/>
                  <a:gd name="connsiteX1" fmla="*/ 219075 w 219075"/>
                  <a:gd name="connsiteY1" fmla="*/ 0 h 514350"/>
                  <a:gd name="connsiteX2" fmla="*/ 219075 w 219075"/>
                  <a:gd name="connsiteY2" fmla="*/ 514350 h 514350"/>
                  <a:gd name="connsiteX3" fmla="*/ 0 w 219075"/>
                  <a:gd name="connsiteY3" fmla="*/ 514350 h 514350"/>
                </a:gdLst>
                <a:ahLst/>
                <a:cxnLst>
                  <a:cxn ang="0">
                    <a:pos x="connsiteX0" y="connsiteY0"/>
                  </a:cxn>
                  <a:cxn ang="0">
                    <a:pos x="connsiteX1" y="connsiteY1"/>
                  </a:cxn>
                  <a:cxn ang="0">
                    <a:pos x="connsiteX2" y="connsiteY2"/>
                  </a:cxn>
                  <a:cxn ang="0">
                    <a:pos x="connsiteX3" y="connsiteY3"/>
                  </a:cxn>
                </a:cxnLst>
                <a:rect l="l" t="t" r="r" b="b"/>
                <a:pathLst>
                  <a:path w="219075" h="514350">
                    <a:moveTo>
                      <a:pt x="0" y="0"/>
                    </a:moveTo>
                    <a:lnTo>
                      <a:pt x="219075" y="0"/>
                    </a:lnTo>
                    <a:lnTo>
                      <a:pt x="219075" y="514350"/>
                    </a:lnTo>
                    <a:lnTo>
                      <a:pt x="0" y="514350"/>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8" name="Freeform: Shape 207">
                <a:extLst>
                  <a:ext uri="{FF2B5EF4-FFF2-40B4-BE49-F238E27FC236}">
                    <a16:creationId xmlns:a16="http://schemas.microsoft.com/office/drawing/2014/main" id="{F7717444-ADE1-C62D-8A15-3FEEA334989C}"/>
                  </a:ext>
                </a:extLst>
              </p:cNvPr>
              <p:cNvSpPr/>
              <p:nvPr/>
            </p:nvSpPr>
            <p:spPr>
              <a:xfrm>
                <a:off x="-418595" y="4238551"/>
                <a:ext cx="38759" cy="38759"/>
              </a:xfrm>
              <a:custGeom>
                <a:avLst/>
                <a:gdLst>
                  <a:gd name="connsiteX0" fmla="*/ 0 w 317944"/>
                  <a:gd name="connsiteY0" fmla="*/ 0 h 317944"/>
                  <a:gd name="connsiteX1" fmla="*/ 317945 w 317944"/>
                  <a:gd name="connsiteY1" fmla="*/ 0 h 317944"/>
                  <a:gd name="connsiteX2" fmla="*/ 317945 w 317944"/>
                  <a:gd name="connsiteY2" fmla="*/ 317945 h 317944"/>
                  <a:gd name="connsiteX3" fmla="*/ 0 w 317944"/>
                  <a:gd name="connsiteY3" fmla="*/ 317945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5" y="0"/>
                    </a:lnTo>
                    <a:lnTo>
                      <a:pt x="317945" y="317945"/>
                    </a:lnTo>
                    <a:lnTo>
                      <a:pt x="0" y="31794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IN"/>
              </a:p>
            </p:txBody>
          </p:sp>
          <p:sp>
            <p:nvSpPr>
              <p:cNvPr id="209" name="Freeform: Shape 208">
                <a:extLst>
                  <a:ext uri="{FF2B5EF4-FFF2-40B4-BE49-F238E27FC236}">
                    <a16:creationId xmlns:a16="http://schemas.microsoft.com/office/drawing/2014/main" id="{7522F420-CAA1-6C5B-92AE-275F44F3B60A}"/>
                  </a:ext>
                </a:extLst>
              </p:cNvPr>
              <p:cNvSpPr/>
              <p:nvPr/>
            </p:nvSpPr>
            <p:spPr>
              <a:xfrm>
                <a:off x="-507160" y="4245506"/>
                <a:ext cx="78881" cy="26706"/>
              </a:xfrm>
              <a:custGeom>
                <a:avLst/>
                <a:gdLst>
                  <a:gd name="connsiteX0" fmla="*/ 0 w 647074"/>
                  <a:gd name="connsiteY0" fmla="*/ 0 h 219075"/>
                  <a:gd name="connsiteX1" fmla="*/ 647074 w 647074"/>
                  <a:gd name="connsiteY1" fmla="*/ 0 h 219075"/>
                  <a:gd name="connsiteX2" fmla="*/ 647074 w 647074"/>
                  <a:gd name="connsiteY2" fmla="*/ 219075 h 219075"/>
                  <a:gd name="connsiteX3" fmla="*/ 0 w 647074"/>
                  <a:gd name="connsiteY3" fmla="*/ 219075 h 219075"/>
                  <a:gd name="connsiteX4" fmla="*/ 0 w 647074"/>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074" h="219075">
                    <a:moveTo>
                      <a:pt x="0" y="0"/>
                    </a:moveTo>
                    <a:lnTo>
                      <a:pt x="647074" y="0"/>
                    </a:lnTo>
                    <a:lnTo>
                      <a:pt x="647074" y="219075"/>
                    </a:lnTo>
                    <a:lnTo>
                      <a:pt x="0" y="219075"/>
                    </a:lnTo>
                    <a:lnTo>
                      <a:pt x="0" y="0"/>
                    </a:lnTo>
                    <a:close/>
                  </a:path>
                </a:pathLst>
              </a:custGeom>
              <a:gradFill>
                <a:gsLst>
                  <a:gs pos="53000">
                    <a:srgbClr val="DCDCDC"/>
                  </a:gs>
                  <a:gs pos="15000">
                    <a:schemeClr val="bg1"/>
                  </a:gs>
                </a:gsLst>
                <a:lin ang="10800000" scaled="0"/>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sp>
            <p:nvSpPr>
              <p:cNvPr id="210" name="Freeform: Shape 209">
                <a:extLst>
                  <a:ext uri="{FF2B5EF4-FFF2-40B4-BE49-F238E27FC236}">
                    <a16:creationId xmlns:a16="http://schemas.microsoft.com/office/drawing/2014/main" id="{424CE9D7-DADA-AF7F-6CB5-9BE1814BE805}"/>
                  </a:ext>
                </a:extLst>
              </p:cNvPr>
              <p:cNvSpPr/>
              <p:nvPr/>
            </p:nvSpPr>
            <p:spPr>
              <a:xfrm>
                <a:off x="-410037" y="4286982"/>
                <a:ext cx="26706" cy="82320"/>
              </a:xfrm>
              <a:custGeom>
                <a:avLst/>
                <a:gdLst>
                  <a:gd name="connsiteX0" fmla="*/ 0 w 219075"/>
                  <a:gd name="connsiteY0" fmla="*/ 0 h 675280"/>
                  <a:gd name="connsiteX1" fmla="*/ 219075 w 219075"/>
                  <a:gd name="connsiteY1" fmla="*/ 0 h 675280"/>
                  <a:gd name="connsiteX2" fmla="*/ 219075 w 219075"/>
                  <a:gd name="connsiteY2" fmla="*/ 675280 h 675280"/>
                  <a:gd name="connsiteX3" fmla="*/ 0 w 219075"/>
                  <a:gd name="connsiteY3" fmla="*/ 675280 h 675280"/>
                  <a:gd name="connsiteX4" fmla="*/ 0 w 219075"/>
                  <a:gd name="connsiteY4" fmla="*/ 0 h 67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675280">
                    <a:moveTo>
                      <a:pt x="0" y="0"/>
                    </a:moveTo>
                    <a:lnTo>
                      <a:pt x="219075" y="0"/>
                    </a:lnTo>
                    <a:lnTo>
                      <a:pt x="219075" y="675280"/>
                    </a:lnTo>
                    <a:lnTo>
                      <a:pt x="0" y="675280"/>
                    </a:lnTo>
                    <a:lnTo>
                      <a:pt x="0" y="0"/>
                    </a:lnTo>
                    <a:close/>
                  </a:path>
                </a:pathLst>
              </a:custGeom>
              <a:gradFill>
                <a:gsLst>
                  <a:gs pos="63000">
                    <a:srgbClr val="DCDCDC"/>
                  </a:gs>
                  <a:gs pos="21000">
                    <a:schemeClr val="bg1"/>
                  </a:gs>
                </a:gsLst>
                <a:lin ang="6000000" scaled="0"/>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pic>
            <p:nvPicPr>
              <p:cNvPr id="211" name="Graphic 210">
                <a:extLst>
                  <a:ext uri="{FF2B5EF4-FFF2-40B4-BE49-F238E27FC236}">
                    <a16:creationId xmlns:a16="http://schemas.microsoft.com/office/drawing/2014/main" id="{099F27ED-7D79-C410-A990-AED654F93C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4085" y="3631540"/>
                <a:ext cx="1190625" cy="723900"/>
              </a:xfrm>
              <a:prstGeom prst="rect">
                <a:avLst/>
              </a:prstGeom>
            </p:spPr>
          </p:pic>
        </p:grpSp>
        <p:sp>
          <p:nvSpPr>
            <p:cNvPr id="165" name="Rectangle 164">
              <a:extLst>
                <a:ext uri="{FF2B5EF4-FFF2-40B4-BE49-F238E27FC236}">
                  <a16:creationId xmlns:a16="http://schemas.microsoft.com/office/drawing/2014/main" id="{4AA8D355-9473-568F-B16B-DC6CA7D8D57E}"/>
                </a:ext>
              </a:extLst>
            </p:cNvPr>
            <p:cNvSpPr/>
            <p:nvPr/>
          </p:nvSpPr>
          <p:spPr>
            <a:xfrm>
              <a:off x="1137360" y="4376159"/>
              <a:ext cx="460428"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Central Cloud</a:t>
              </a:r>
            </a:p>
          </p:txBody>
        </p:sp>
        <p:sp>
          <p:nvSpPr>
            <p:cNvPr id="166" name="Rectangle 165">
              <a:extLst>
                <a:ext uri="{FF2B5EF4-FFF2-40B4-BE49-F238E27FC236}">
                  <a16:creationId xmlns:a16="http://schemas.microsoft.com/office/drawing/2014/main" id="{5F5339A1-318C-5A63-0797-A9423375F4AF}"/>
                </a:ext>
              </a:extLst>
            </p:cNvPr>
            <p:cNvSpPr/>
            <p:nvPr/>
          </p:nvSpPr>
          <p:spPr>
            <a:xfrm>
              <a:off x="1022172" y="2416208"/>
              <a:ext cx="773292" cy="1386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n-IN" sz="1050" dirty="0">
                  <a:solidFill>
                    <a:srgbClr val="525252"/>
                  </a:solidFill>
                  <a:latin typeface="IntelOne Text"/>
                  <a:sym typeface="Helvetica Neue Medium"/>
                </a:rPr>
                <a:t>Lekha CU-CP</a:t>
              </a:r>
            </a:p>
          </p:txBody>
        </p:sp>
        <p:sp>
          <p:nvSpPr>
            <p:cNvPr id="167" name="Rectangle 166">
              <a:extLst>
                <a:ext uri="{FF2B5EF4-FFF2-40B4-BE49-F238E27FC236}">
                  <a16:creationId xmlns:a16="http://schemas.microsoft.com/office/drawing/2014/main" id="{3384F5CF-6BAC-2D16-2E22-DB29C987EAE5}"/>
                </a:ext>
              </a:extLst>
            </p:cNvPr>
            <p:cNvSpPr/>
            <p:nvPr/>
          </p:nvSpPr>
          <p:spPr>
            <a:xfrm>
              <a:off x="2081797" y="4219314"/>
              <a:ext cx="874806"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err="1">
                  <a:ln>
                    <a:noFill/>
                  </a:ln>
                  <a:solidFill>
                    <a:schemeClr val="bg2"/>
                  </a:solidFill>
                  <a:effectLst/>
                  <a:uFillTx/>
                  <a:latin typeface="IntelOne Display Medium" panose="020B0703020203020204" pitchFamily="34" charset="0"/>
                  <a:ea typeface="Helvetica Neue Medium"/>
                  <a:cs typeface="Helvetica Neue Medium"/>
                  <a:sym typeface="Helvetica Neue Medium"/>
                </a:rPr>
                <a:t>Lekha</a:t>
              </a:r>
              <a:r>
                <a:rPr kumimoji="0" lang="en-IN" sz="900" b="0" i="0" u="none" strike="noStrike" cap="none" spc="0" normalizeH="0" baseline="0" dirty="0">
                  <a:ln>
                    <a:noFill/>
                  </a:ln>
                  <a:solidFill>
                    <a:schemeClr val="bg2"/>
                  </a:solidFill>
                  <a:effectLst/>
                  <a:uFillTx/>
                  <a:latin typeface="IntelOne Display Medium" panose="020B0703020203020204" pitchFamily="34" charset="0"/>
                  <a:ea typeface="Helvetica Neue Medium"/>
                  <a:cs typeface="Helvetica Neue Medium"/>
                  <a:sym typeface="Helvetica Neue Medium"/>
                </a:rPr>
                <a:t> DU</a:t>
              </a:r>
            </a:p>
          </p:txBody>
        </p:sp>
        <p:sp>
          <p:nvSpPr>
            <p:cNvPr id="168" name="Rectangle 375">
              <a:extLst>
                <a:ext uri="{FF2B5EF4-FFF2-40B4-BE49-F238E27FC236}">
                  <a16:creationId xmlns:a16="http://schemas.microsoft.com/office/drawing/2014/main" id="{C3DA8BD2-2D53-3E2D-F4E8-C4C464FEE9E3}"/>
                </a:ext>
              </a:extLst>
            </p:cNvPr>
            <p:cNvSpPr/>
            <p:nvPr/>
          </p:nvSpPr>
          <p:spPr>
            <a:xfrm>
              <a:off x="698942" y="2935068"/>
              <a:ext cx="264756" cy="697023"/>
            </a:xfrm>
            <a:custGeom>
              <a:avLst/>
              <a:gdLst>
                <a:gd name="connsiteX0" fmla="*/ 0 w 408057"/>
                <a:gd name="connsiteY0" fmla="*/ 0 h 608999"/>
                <a:gd name="connsiteX1" fmla="*/ 408057 w 408057"/>
                <a:gd name="connsiteY1" fmla="*/ 0 h 608999"/>
                <a:gd name="connsiteX2" fmla="*/ 408057 w 408057"/>
                <a:gd name="connsiteY2" fmla="*/ 608999 h 608999"/>
                <a:gd name="connsiteX3" fmla="*/ 0 w 408057"/>
                <a:gd name="connsiteY3" fmla="*/ 608999 h 608999"/>
                <a:gd name="connsiteX4" fmla="*/ 0 w 408057"/>
                <a:gd name="connsiteY4" fmla="*/ 0 h 608999"/>
                <a:gd name="connsiteX0" fmla="*/ 408057 w 499497"/>
                <a:gd name="connsiteY0" fmla="*/ 608999 h 700439"/>
                <a:gd name="connsiteX1" fmla="*/ 0 w 499497"/>
                <a:gd name="connsiteY1" fmla="*/ 608999 h 700439"/>
                <a:gd name="connsiteX2" fmla="*/ 0 w 499497"/>
                <a:gd name="connsiteY2" fmla="*/ 0 h 700439"/>
                <a:gd name="connsiteX3" fmla="*/ 408057 w 499497"/>
                <a:gd name="connsiteY3" fmla="*/ 0 h 700439"/>
                <a:gd name="connsiteX4" fmla="*/ 499497 w 499497"/>
                <a:gd name="connsiteY4" fmla="*/ 700439 h 700439"/>
                <a:gd name="connsiteX0" fmla="*/ 408057 w 408057"/>
                <a:gd name="connsiteY0" fmla="*/ 608999 h 608999"/>
                <a:gd name="connsiteX1" fmla="*/ 0 w 408057"/>
                <a:gd name="connsiteY1" fmla="*/ 608999 h 608999"/>
                <a:gd name="connsiteX2" fmla="*/ 0 w 408057"/>
                <a:gd name="connsiteY2" fmla="*/ 0 h 608999"/>
                <a:gd name="connsiteX3" fmla="*/ 408057 w 408057"/>
                <a:gd name="connsiteY3" fmla="*/ 0 h 608999"/>
                <a:gd name="connsiteX0" fmla="*/ 0 w 408057"/>
                <a:gd name="connsiteY0" fmla="*/ 608999 h 608999"/>
                <a:gd name="connsiteX1" fmla="*/ 0 w 408057"/>
                <a:gd name="connsiteY1" fmla="*/ 0 h 608999"/>
                <a:gd name="connsiteX2" fmla="*/ 408057 w 408057"/>
                <a:gd name="connsiteY2" fmla="*/ 0 h 608999"/>
              </a:gdLst>
              <a:ahLst/>
              <a:cxnLst>
                <a:cxn ang="0">
                  <a:pos x="connsiteX0" y="connsiteY0"/>
                </a:cxn>
                <a:cxn ang="0">
                  <a:pos x="connsiteX1" y="connsiteY1"/>
                </a:cxn>
                <a:cxn ang="0">
                  <a:pos x="connsiteX2" y="connsiteY2"/>
                </a:cxn>
              </a:cxnLst>
              <a:rect l="l" t="t" r="r" b="b"/>
              <a:pathLst>
                <a:path w="408057" h="608999">
                  <a:moveTo>
                    <a:pt x="0" y="608999"/>
                  </a:moveTo>
                  <a:lnTo>
                    <a:pt x="0" y="0"/>
                  </a:lnTo>
                  <a:lnTo>
                    <a:pt x="408057" y="0"/>
                  </a:lnTo>
                </a:path>
              </a:pathLst>
            </a:custGeom>
            <a:noFill/>
            <a:ln w="12700" cap="flat">
              <a:solidFill>
                <a:schemeClr val="bg1">
                  <a:lumMod val="75000"/>
                </a:schemeClr>
              </a:solidFill>
              <a:miter lim="400000"/>
              <a:headEnd type="none" w="med" len="med"/>
              <a:tailEnd type="none" w="med" len="me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IN"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69" name="Rectangle 375">
              <a:extLst>
                <a:ext uri="{FF2B5EF4-FFF2-40B4-BE49-F238E27FC236}">
                  <a16:creationId xmlns:a16="http://schemas.microsoft.com/office/drawing/2014/main" id="{B903184A-3A77-8A44-CFF1-CB289268EFC0}"/>
                </a:ext>
              </a:extLst>
            </p:cNvPr>
            <p:cNvSpPr/>
            <p:nvPr/>
          </p:nvSpPr>
          <p:spPr>
            <a:xfrm flipV="1">
              <a:off x="698942" y="3830281"/>
              <a:ext cx="264756" cy="767215"/>
            </a:xfrm>
            <a:custGeom>
              <a:avLst/>
              <a:gdLst>
                <a:gd name="connsiteX0" fmla="*/ 0 w 408057"/>
                <a:gd name="connsiteY0" fmla="*/ 0 h 608999"/>
                <a:gd name="connsiteX1" fmla="*/ 408057 w 408057"/>
                <a:gd name="connsiteY1" fmla="*/ 0 h 608999"/>
                <a:gd name="connsiteX2" fmla="*/ 408057 w 408057"/>
                <a:gd name="connsiteY2" fmla="*/ 608999 h 608999"/>
                <a:gd name="connsiteX3" fmla="*/ 0 w 408057"/>
                <a:gd name="connsiteY3" fmla="*/ 608999 h 608999"/>
                <a:gd name="connsiteX4" fmla="*/ 0 w 408057"/>
                <a:gd name="connsiteY4" fmla="*/ 0 h 608999"/>
                <a:gd name="connsiteX0" fmla="*/ 408057 w 499497"/>
                <a:gd name="connsiteY0" fmla="*/ 608999 h 700439"/>
                <a:gd name="connsiteX1" fmla="*/ 0 w 499497"/>
                <a:gd name="connsiteY1" fmla="*/ 608999 h 700439"/>
                <a:gd name="connsiteX2" fmla="*/ 0 w 499497"/>
                <a:gd name="connsiteY2" fmla="*/ 0 h 700439"/>
                <a:gd name="connsiteX3" fmla="*/ 408057 w 499497"/>
                <a:gd name="connsiteY3" fmla="*/ 0 h 700439"/>
                <a:gd name="connsiteX4" fmla="*/ 499497 w 499497"/>
                <a:gd name="connsiteY4" fmla="*/ 700439 h 700439"/>
                <a:gd name="connsiteX0" fmla="*/ 408057 w 408057"/>
                <a:gd name="connsiteY0" fmla="*/ 608999 h 608999"/>
                <a:gd name="connsiteX1" fmla="*/ 0 w 408057"/>
                <a:gd name="connsiteY1" fmla="*/ 608999 h 608999"/>
                <a:gd name="connsiteX2" fmla="*/ 0 w 408057"/>
                <a:gd name="connsiteY2" fmla="*/ 0 h 608999"/>
                <a:gd name="connsiteX3" fmla="*/ 408057 w 408057"/>
                <a:gd name="connsiteY3" fmla="*/ 0 h 608999"/>
                <a:gd name="connsiteX0" fmla="*/ 0 w 408057"/>
                <a:gd name="connsiteY0" fmla="*/ 608999 h 608999"/>
                <a:gd name="connsiteX1" fmla="*/ 0 w 408057"/>
                <a:gd name="connsiteY1" fmla="*/ 0 h 608999"/>
                <a:gd name="connsiteX2" fmla="*/ 408057 w 408057"/>
                <a:gd name="connsiteY2" fmla="*/ 0 h 608999"/>
              </a:gdLst>
              <a:ahLst/>
              <a:cxnLst>
                <a:cxn ang="0">
                  <a:pos x="connsiteX0" y="connsiteY0"/>
                </a:cxn>
                <a:cxn ang="0">
                  <a:pos x="connsiteX1" y="connsiteY1"/>
                </a:cxn>
                <a:cxn ang="0">
                  <a:pos x="connsiteX2" y="connsiteY2"/>
                </a:cxn>
              </a:cxnLst>
              <a:rect l="l" t="t" r="r" b="b"/>
              <a:pathLst>
                <a:path w="408057" h="608999">
                  <a:moveTo>
                    <a:pt x="0" y="608999"/>
                  </a:moveTo>
                  <a:lnTo>
                    <a:pt x="0" y="0"/>
                  </a:lnTo>
                  <a:lnTo>
                    <a:pt x="408057" y="0"/>
                  </a:lnTo>
                </a:path>
              </a:pathLst>
            </a:custGeom>
            <a:noFill/>
            <a:ln w="12700" cap="flat">
              <a:solidFill>
                <a:schemeClr val="bg1">
                  <a:lumMod val="75000"/>
                </a:schemeClr>
              </a:solidFill>
              <a:miter lim="400000"/>
              <a:headEnd type="none" w="med" len="med"/>
              <a:tailEnd type="none" w="med" len="me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IN"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cxnSp>
          <p:nvCxnSpPr>
            <p:cNvPr id="170" name="Straight Connector 169">
              <a:extLst>
                <a:ext uri="{FF2B5EF4-FFF2-40B4-BE49-F238E27FC236}">
                  <a16:creationId xmlns:a16="http://schemas.microsoft.com/office/drawing/2014/main" id="{14BF5A16-11AD-F0DD-7386-ED527400984D}"/>
                </a:ext>
              </a:extLst>
            </p:cNvPr>
            <p:cNvCxnSpPr>
              <a:cxnSpLocks/>
            </p:cNvCxnSpPr>
            <p:nvPr/>
          </p:nvCxnSpPr>
          <p:spPr>
            <a:xfrm>
              <a:off x="1342142" y="3218355"/>
              <a:ext cx="0" cy="1034558"/>
            </a:xfrm>
            <a:prstGeom prst="line">
              <a:avLst/>
            </a:prstGeom>
            <a:noFill/>
            <a:ln w="12700" cap="flat">
              <a:solidFill>
                <a:schemeClr val="bg1">
                  <a:lumMod val="75000"/>
                </a:schemeClr>
              </a:solidFill>
              <a:miter lim="400000"/>
              <a:headEnd type="none"/>
            </a:ln>
            <a:effectLst/>
            <a:sp3d/>
          </p:spPr>
          <p:style>
            <a:lnRef idx="0">
              <a:scrgbClr r="0" g="0" b="0"/>
            </a:lnRef>
            <a:fillRef idx="0">
              <a:scrgbClr r="0" g="0" b="0"/>
            </a:fillRef>
            <a:effectRef idx="0">
              <a:scrgbClr r="0" g="0" b="0"/>
            </a:effectRef>
            <a:fontRef idx="none"/>
          </p:style>
        </p:cxnSp>
        <p:cxnSp>
          <p:nvCxnSpPr>
            <p:cNvPr id="171" name="Straight Connector 170">
              <a:extLst>
                <a:ext uri="{FF2B5EF4-FFF2-40B4-BE49-F238E27FC236}">
                  <a16:creationId xmlns:a16="http://schemas.microsoft.com/office/drawing/2014/main" id="{F622348B-63ED-8C06-3211-23DD87624BE5}"/>
                </a:ext>
              </a:extLst>
            </p:cNvPr>
            <p:cNvCxnSpPr>
              <a:cxnSpLocks/>
            </p:cNvCxnSpPr>
            <p:nvPr/>
          </p:nvCxnSpPr>
          <p:spPr>
            <a:xfrm>
              <a:off x="1695291" y="2982913"/>
              <a:ext cx="550069" cy="585787"/>
            </a:xfrm>
            <a:prstGeom prst="line">
              <a:avLst/>
            </a:prstGeom>
            <a:noFill/>
            <a:ln w="12700" cap="flat">
              <a:solidFill>
                <a:schemeClr val="bg1">
                  <a:lumMod val="75000"/>
                </a:schemeClr>
              </a:solidFill>
              <a:miter lim="400000"/>
              <a:headEnd type="none"/>
            </a:ln>
            <a:effectLst/>
            <a:sp3d/>
          </p:spPr>
          <p:style>
            <a:lnRef idx="0">
              <a:scrgbClr r="0" g="0" b="0"/>
            </a:lnRef>
            <a:fillRef idx="0">
              <a:scrgbClr r="0" g="0" b="0"/>
            </a:fillRef>
            <a:effectRef idx="0">
              <a:scrgbClr r="0" g="0" b="0"/>
            </a:effectRef>
            <a:fontRef idx="none"/>
          </p:style>
        </p:cxnSp>
        <p:cxnSp>
          <p:nvCxnSpPr>
            <p:cNvPr id="172" name="Straight Connector 171">
              <a:extLst>
                <a:ext uri="{FF2B5EF4-FFF2-40B4-BE49-F238E27FC236}">
                  <a16:creationId xmlns:a16="http://schemas.microsoft.com/office/drawing/2014/main" id="{503E1498-F92C-0A0F-E935-44D61C51D72B}"/>
                </a:ext>
              </a:extLst>
            </p:cNvPr>
            <p:cNvCxnSpPr>
              <a:cxnSpLocks/>
            </p:cNvCxnSpPr>
            <p:nvPr/>
          </p:nvCxnSpPr>
          <p:spPr>
            <a:xfrm flipV="1">
              <a:off x="1695291" y="3865985"/>
              <a:ext cx="550069" cy="585787"/>
            </a:xfrm>
            <a:prstGeom prst="line">
              <a:avLst/>
            </a:prstGeom>
            <a:noFill/>
            <a:ln w="12700" cap="flat">
              <a:solidFill>
                <a:schemeClr val="bg1">
                  <a:lumMod val="75000"/>
                </a:schemeClr>
              </a:solidFill>
              <a:miter lim="400000"/>
              <a:headEnd type="none"/>
            </a:ln>
            <a:effectLst/>
            <a:sp3d/>
          </p:spPr>
          <p:style>
            <a:lnRef idx="0">
              <a:scrgbClr r="0" g="0" b="0"/>
            </a:lnRef>
            <a:fillRef idx="0">
              <a:scrgbClr r="0" g="0" b="0"/>
            </a:fillRef>
            <a:effectRef idx="0">
              <a:scrgbClr r="0" g="0" b="0"/>
            </a:effectRef>
            <a:fontRef idx="none"/>
          </p:style>
        </p:cxnSp>
        <p:grpSp>
          <p:nvGrpSpPr>
            <p:cNvPr id="173" name="Group 172">
              <a:extLst>
                <a:ext uri="{FF2B5EF4-FFF2-40B4-BE49-F238E27FC236}">
                  <a16:creationId xmlns:a16="http://schemas.microsoft.com/office/drawing/2014/main" id="{922D5B79-B228-9654-EEED-F0886493E4BE}"/>
                </a:ext>
              </a:extLst>
            </p:cNvPr>
            <p:cNvGrpSpPr/>
            <p:nvPr/>
          </p:nvGrpSpPr>
          <p:grpSpPr>
            <a:xfrm>
              <a:off x="2103601" y="3405103"/>
              <a:ext cx="778264" cy="772420"/>
              <a:chOff x="2781061" y="4268752"/>
              <a:chExt cx="778264" cy="772420"/>
            </a:xfrm>
          </p:grpSpPr>
          <p:grpSp>
            <p:nvGrpSpPr>
              <p:cNvPr id="177" name="Group 176">
                <a:extLst>
                  <a:ext uri="{FF2B5EF4-FFF2-40B4-BE49-F238E27FC236}">
                    <a16:creationId xmlns:a16="http://schemas.microsoft.com/office/drawing/2014/main" id="{273E4BE6-3B31-8202-62DA-1CDC05A802AD}"/>
                  </a:ext>
                </a:extLst>
              </p:cNvPr>
              <p:cNvGrpSpPr/>
              <p:nvPr/>
            </p:nvGrpSpPr>
            <p:grpSpPr>
              <a:xfrm>
                <a:off x="2781061" y="4268752"/>
                <a:ext cx="778264" cy="772420"/>
                <a:chOff x="-2443163" y="4507936"/>
                <a:chExt cx="1659547" cy="1647086"/>
              </a:xfrm>
            </p:grpSpPr>
            <p:pic>
              <p:nvPicPr>
                <p:cNvPr id="179" name="Graphic 178">
                  <a:extLst>
                    <a:ext uri="{FF2B5EF4-FFF2-40B4-BE49-F238E27FC236}">
                      <a16:creationId xmlns:a16="http://schemas.microsoft.com/office/drawing/2014/main" id="{F7F367AF-A931-7612-B88C-696F60ACC3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43163" y="4507936"/>
                  <a:ext cx="1659547" cy="1009003"/>
                </a:xfrm>
                <a:prstGeom prst="rect">
                  <a:avLst/>
                </a:prstGeom>
              </p:spPr>
            </p:pic>
            <p:grpSp>
              <p:nvGrpSpPr>
                <p:cNvPr id="180" name="Group 179">
                  <a:extLst>
                    <a:ext uri="{FF2B5EF4-FFF2-40B4-BE49-F238E27FC236}">
                      <a16:creationId xmlns:a16="http://schemas.microsoft.com/office/drawing/2014/main" id="{CECFDF8A-F8EF-01E2-F6D8-ED4E48DB8965}"/>
                    </a:ext>
                  </a:extLst>
                </p:cNvPr>
                <p:cNvGrpSpPr/>
                <p:nvPr/>
              </p:nvGrpSpPr>
              <p:grpSpPr>
                <a:xfrm>
                  <a:off x="-2062900" y="5329102"/>
                  <a:ext cx="861309" cy="380810"/>
                  <a:chOff x="-2153632" y="6001622"/>
                  <a:chExt cx="563562" cy="249168"/>
                </a:xfrm>
              </p:grpSpPr>
              <p:sp>
                <p:nvSpPr>
                  <p:cNvPr id="188" name="Freeform: Shape 187">
                    <a:extLst>
                      <a:ext uri="{FF2B5EF4-FFF2-40B4-BE49-F238E27FC236}">
                        <a16:creationId xmlns:a16="http://schemas.microsoft.com/office/drawing/2014/main" id="{FF46A370-41A5-73B3-05DB-97E1A2CA435B}"/>
                      </a:ext>
                    </a:extLst>
                  </p:cNvPr>
                  <p:cNvSpPr/>
                  <p:nvPr/>
                </p:nvSpPr>
                <p:spPr>
                  <a:xfrm>
                    <a:off x="-1772637" y="6070949"/>
                    <a:ext cx="116230" cy="116230"/>
                  </a:xfrm>
                  <a:custGeom>
                    <a:avLst/>
                    <a:gdLst>
                      <a:gd name="connsiteX0" fmla="*/ 1007174 w 1007173"/>
                      <a:gd name="connsiteY0" fmla="*/ 503587 h 1007173"/>
                      <a:gd name="connsiteX1" fmla="*/ 503587 w 1007173"/>
                      <a:gd name="connsiteY1" fmla="*/ 1007174 h 1007173"/>
                      <a:gd name="connsiteX2" fmla="*/ 0 w 1007173"/>
                      <a:gd name="connsiteY2" fmla="*/ 503587 h 1007173"/>
                      <a:gd name="connsiteX3" fmla="*/ 503587 w 1007173"/>
                      <a:gd name="connsiteY3" fmla="*/ 0 h 1007173"/>
                      <a:gd name="connsiteX4" fmla="*/ 1007174 w 1007173"/>
                      <a:gd name="connsiteY4" fmla="*/ 503587 h 1007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73" h="1007173">
                        <a:moveTo>
                          <a:pt x="1007174" y="503587"/>
                        </a:moveTo>
                        <a:cubicBezTo>
                          <a:pt x="1007174" y="781710"/>
                          <a:pt x="781710" y="1007174"/>
                          <a:pt x="503587" y="1007174"/>
                        </a:cubicBezTo>
                        <a:cubicBezTo>
                          <a:pt x="225464" y="1007174"/>
                          <a:pt x="0" y="781710"/>
                          <a:pt x="0" y="503587"/>
                        </a:cubicBezTo>
                        <a:cubicBezTo>
                          <a:pt x="0" y="225463"/>
                          <a:pt x="225464" y="0"/>
                          <a:pt x="503587" y="0"/>
                        </a:cubicBezTo>
                        <a:cubicBezTo>
                          <a:pt x="781710" y="0"/>
                          <a:pt x="1007174" y="225463"/>
                          <a:pt x="1007174" y="503587"/>
                        </a:cubicBez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sp>
                <p:nvSpPr>
                  <p:cNvPr id="189" name="Freeform: Shape 188">
                    <a:extLst>
                      <a:ext uri="{FF2B5EF4-FFF2-40B4-BE49-F238E27FC236}">
                        <a16:creationId xmlns:a16="http://schemas.microsoft.com/office/drawing/2014/main" id="{42F1B52D-1899-F8DF-E2F2-A1021208F855}"/>
                      </a:ext>
                    </a:extLst>
                  </p:cNvPr>
                  <p:cNvSpPr/>
                  <p:nvPr/>
                </p:nvSpPr>
                <p:spPr>
                  <a:xfrm>
                    <a:off x="-1895616" y="6096220"/>
                    <a:ext cx="65688" cy="65688"/>
                  </a:xfrm>
                  <a:custGeom>
                    <a:avLst/>
                    <a:gdLst>
                      <a:gd name="connsiteX0" fmla="*/ 569214 w 569213"/>
                      <a:gd name="connsiteY0" fmla="*/ 284607 h 569213"/>
                      <a:gd name="connsiteX1" fmla="*/ 284607 w 569213"/>
                      <a:gd name="connsiteY1" fmla="*/ 569214 h 569213"/>
                      <a:gd name="connsiteX2" fmla="*/ 0 w 569213"/>
                      <a:gd name="connsiteY2" fmla="*/ 284607 h 569213"/>
                      <a:gd name="connsiteX3" fmla="*/ 284607 w 569213"/>
                      <a:gd name="connsiteY3" fmla="*/ 0 h 569213"/>
                      <a:gd name="connsiteX4" fmla="*/ 569214 w 569213"/>
                      <a:gd name="connsiteY4" fmla="*/ 284607 h 569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213" h="569213">
                        <a:moveTo>
                          <a:pt x="569214" y="284607"/>
                        </a:moveTo>
                        <a:cubicBezTo>
                          <a:pt x="569214" y="441791"/>
                          <a:pt x="441791" y="569214"/>
                          <a:pt x="284607" y="569214"/>
                        </a:cubicBezTo>
                        <a:cubicBezTo>
                          <a:pt x="127423" y="569214"/>
                          <a:pt x="0" y="441791"/>
                          <a:pt x="0" y="284607"/>
                        </a:cubicBezTo>
                        <a:cubicBezTo>
                          <a:pt x="0" y="127423"/>
                          <a:pt x="127423" y="0"/>
                          <a:pt x="284607" y="0"/>
                        </a:cubicBezTo>
                        <a:cubicBezTo>
                          <a:pt x="441791" y="0"/>
                          <a:pt x="569214" y="127423"/>
                          <a:pt x="569214" y="284607"/>
                        </a:cubicBez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33DE4137-6A7E-C2E5-9A14-520226F470C3}"/>
                      </a:ext>
                    </a:extLst>
                  </p:cNvPr>
                  <p:cNvSpPr/>
                  <p:nvPr/>
                </p:nvSpPr>
                <p:spPr>
                  <a:xfrm>
                    <a:off x="-2029950" y="6143068"/>
                    <a:ext cx="36691" cy="36691"/>
                  </a:xfrm>
                  <a:custGeom>
                    <a:avLst/>
                    <a:gdLst>
                      <a:gd name="connsiteX0" fmla="*/ 0 w 317944"/>
                      <a:gd name="connsiteY0" fmla="*/ 0 h 317944"/>
                      <a:gd name="connsiteX1" fmla="*/ 317944 w 317944"/>
                      <a:gd name="connsiteY1" fmla="*/ 0 h 317944"/>
                      <a:gd name="connsiteX2" fmla="*/ 317944 w 317944"/>
                      <a:gd name="connsiteY2" fmla="*/ 317944 h 317944"/>
                      <a:gd name="connsiteX3" fmla="*/ 0 w 317944"/>
                      <a:gd name="connsiteY3" fmla="*/ 317944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4" y="0"/>
                        </a:lnTo>
                        <a:lnTo>
                          <a:pt x="317944" y="317944"/>
                        </a:lnTo>
                        <a:lnTo>
                          <a:pt x="0" y="317944"/>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84613D29-9FFC-7A36-35D9-65AD20B06E3B}"/>
                      </a:ext>
                    </a:extLst>
                  </p:cNvPr>
                  <p:cNvSpPr/>
                  <p:nvPr/>
                </p:nvSpPr>
                <p:spPr>
                  <a:xfrm>
                    <a:off x="-2080832" y="6092504"/>
                    <a:ext cx="50882" cy="50564"/>
                  </a:xfrm>
                  <a:custGeom>
                    <a:avLst/>
                    <a:gdLst>
                      <a:gd name="connsiteX0" fmla="*/ 0 w 440912"/>
                      <a:gd name="connsiteY0" fmla="*/ 0 h 438150"/>
                      <a:gd name="connsiteX1" fmla="*/ 440912 w 440912"/>
                      <a:gd name="connsiteY1" fmla="*/ 0 h 438150"/>
                      <a:gd name="connsiteX2" fmla="*/ 440912 w 440912"/>
                      <a:gd name="connsiteY2" fmla="*/ 438150 h 438150"/>
                      <a:gd name="connsiteX3" fmla="*/ 0 w 440912"/>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440912" h="438150">
                        <a:moveTo>
                          <a:pt x="0" y="0"/>
                        </a:moveTo>
                        <a:lnTo>
                          <a:pt x="440912" y="0"/>
                        </a:lnTo>
                        <a:lnTo>
                          <a:pt x="440912" y="438150"/>
                        </a:lnTo>
                        <a:lnTo>
                          <a:pt x="0" y="438150"/>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92" name="Freeform: Shape 191">
                    <a:extLst>
                      <a:ext uri="{FF2B5EF4-FFF2-40B4-BE49-F238E27FC236}">
                        <a16:creationId xmlns:a16="http://schemas.microsoft.com/office/drawing/2014/main" id="{DA2DC7A6-BB10-836F-5590-05910C93BFE3}"/>
                      </a:ext>
                    </a:extLst>
                  </p:cNvPr>
                  <p:cNvSpPr/>
                  <p:nvPr/>
                </p:nvSpPr>
                <p:spPr>
                  <a:xfrm>
                    <a:off x="-2147927" y="6007327"/>
                    <a:ext cx="557857" cy="243463"/>
                  </a:xfrm>
                  <a:custGeom>
                    <a:avLst/>
                    <a:gdLst>
                      <a:gd name="connsiteX0" fmla="*/ 219075 w 4834032"/>
                      <a:gd name="connsiteY0" fmla="*/ 1791843 h 2109692"/>
                      <a:gd name="connsiteX1" fmla="*/ 317849 w 4834032"/>
                      <a:gd name="connsiteY1" fmla="*/ 1890713 h 2109692"/>
                      <a:gd name="connsiteX2" fmla="*/ 4615053 w 4834032"/>
                      <a:gd name="connsiteY2" fmla="*/ 1890713 h 2109692"/>
                      <a:gd name="connsiteX3" fmla="*/ 4615053 w 4834032"/>
                      <a:gd name="connsiteY3" fmla="*/ 317945 h 2109692"/>
                      <a:gd name="connsiteX4" fmla="*/ 4516279 w 4834032"/>
                      <a:gd name="connsiteY4" fmla="*/ 219075 h 2109692"/>
                      <a:gd name="connsiteX5" fmla="*/ 2330387 w 4834032"/>
                      <a:gd name="connsiteY5" fmla="*/ 219075 h 2109692"/>
                      <a:gd name="connsiteX6" fmla="*/ 2330387 w 4834032"/>
                      <a:gd name="connsiteY6" fmla="*/ 0 h 2109692"/>
                      <a:gd name="connsiteX7" fmla="*/ 4516184 w 4834032"/>
                      <a:gd name="connsiteY7" fmla="*/ 0 h 2109692"/>
                      <a:gd name="connsiteX8" fmla="*/ 4834033 w 4834032"/>
                      <a:gd name="connsiteY8" fmla="*/ 317945 h 2109692"/>
                      <a:gd name="connsiteX9" fmla="*/ 4834033 w 4834032"/>
                      <a:gd name="connsiteY9" fmla="*/ 2109692 h 2109692"/>
                      <a:gd name="connsiteX10" fmla="*/ 317849 w 4834032"/>
                      <a:gd name="connsiteY10" fmla="*/ 2109692 h 2109692"/>
                      <a:gd name="connsiteX11" fmla="*/ 0 w 4834032"/>
                      <a:gd name="connsiteY11" fmla="*/ 1791748 h 2109692"/>
                      <a:gd name="connsiteX12" fmla="*/ 0 w 4834032"/>
                      <a:gd name="connsiteY12" fmla="*/ 1419701 h 2109692"/>
                      <a:gd name="connsiteX13" fmla="*/ 219075 w 4834032"/>
                      <a:gd name="connsiteY13" fmla="*/ 1419701 h 2109692"/>
                      <a:gd name="connsiteX14" fmla="*/ 219075 w 4834032"/>
                      <a:gd name="connsiteY14" fmla="*/ 1791748 h 210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34032" h="2109692">
                        <a:moveTo>
                          <a:pt x="219075" y="1791843"/>
                        </a:moveTo>
                        <a:cubicBezTo>
                          <a:pt x="219075" y="1846326"/>
                          <a:pt x="263366" y="1890713"/>
                          <a:pt x="317849" y="1890713"/>
                        </a:cubicBezTo>
                        <a:lnTo>
                          <a:pt x="4615053" y="1890713"/>
                        </a:lnTo>
                        <a:cubicBezTo>
                          <a:pt x="4615053" y="1890713"/>
                          <a:pt x="4615053" y="317945"/>
                          <a:pt x="4615053" y="317945"/>
                        </a:cubicBezTo>
                        <a:cubicBezTo>
                          <a:pt x="4615053" y="263462"/>
                          <a:pt x="4570762" y="219075"/>
                          <a:pt x="4516279" y="219075"/>
                        </a:cubicBezTo>
                        <a:lnTo>
                          <a:pt x="2330387" y="219075"/>
                        </a:lnTo>
                        <a:lnTo>
                          <a:pt x="2330387" y="0"/>
                        </a:lnTo>
                        <a:lnTo>
                          <a:pt x="4516184" y="0"/>
                        </a:lnTo>
                        <a:cubicBezTo>
                          <a:pt x="4691444" y="0"/>
                          <a:pt x="4834033" y="142589"/>
                          <a:pt x="4834033" y="317945"/>
                        </a:cubicBezTo>
                        <a:lnTo>
                          <a:pt x="4834033" y="2109692"/>
                        </a:lnTo>
                        <a:lnTo>
                          <a:pt x="317849" y="2109692"/>
                        </a:lnTo>
                        <a:cubicBezTo>
                          <a:pt x="142589" y="2109692"/>
                          <a:pt x="0" y="1967103"/>
                          <a:pt x="0" y="1791748"/>
                        </a:cubicBezTo>
                        <a:lnTo>
                          <a:pt x="0" y="1419701"/>
                        </a:lnTo>
                        <a:lnTo>
                          <a:pt x="219075" y="1419701"/>
                        </a:lnTo>
                        <a:lnTo>
                          <a:pt x="219075" y="1791748"/>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93" name="Freeform: Shape 192">
                    <a:extLst>
                      <a:ext uri="{FF2B5EF4-FFF2-40B4-BE49-F238E27FC236}">
                        <a16:creationId xmlns:a16="http://schemas.microsoft.com/office/drawing/2014/main" id="{7905E67B-85E5-A81F-3410-4FF77CB3FA01}"/>
                      </a:ext>
                    </a:extLst>
                  </p:cNvPr>
                  <p:cNvSpPr/>
                  <p:nvPr/>
                </p:nvSpPr>
                <p:spPr>
                  <a:xfrm>
                    <a:off x="-2147444" y="6007316"/>
                    <a:ext cx="272801" cy="25282"/>
                  </a:xfrm>
                  <a:custGeom>
                    <a:avLst/>
                    <a:gdLst>
                      <a:gd name="connsiteX0" fmla="*/ 0 w 2363914"/>
                      <a:gd name="connsiteY0" fmla="*/ 0 h 219075"/>
                      <a:gd name="connsiteX1" fmla="*/ 241268 w 2363914"/>
                      <a:gd name="connsiteY1" fmla="*/ 219075 h 219075"/>
                      <a:gd name="connsiteX2" fmla="*/ 2363915 w 2363914"/>
                      <a:gd name="connsiteY2" fmla="*/ 219075 h 219075"/>
                      <a:gd name="connsiteX3" fmla="*/ 2363915 w 2363914"/>
                      <a:gd name="connsiteY3" fmla="*/ 0 h 219075"/>
                      <a:gd name="connsiteX4" fmla="*/ 0 w 2363914"/>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914" h="219075">
                        <a:moveTo>
                          <a:pt x="0" y="0"/>
                        </a:moveTo>
                        <a:lnTo>
                          <a:pt x="241268" y="219075"/>
                        </a:lnTo>
                        <a:lnTo>
                          <a:pt x="2363915" y="219075"/>
                        </a:lnTo>
                        <a:lnTo>
                          <a:pt x="2363915" y="0"/>
                        </a:lnTo>
                        <a:lnTo>
                          <a:pt x="0" y="0"/>
                        </a:lnTo>
                        <a:close/>
                      </a:path>
                    </a:pathLst>
                  </a:custGeom>
                  <a:gradFill flip="none" rotWithShape="1">
                    <a:gsLst>
                      <a:gs pos="0">
                        <a:schemeClr val="accent1">
                          <a:lumMod val="5000"/>
                          <a:lumOff val="95000"/>
                        </a:schemeClr>
                      </a:gs>
                      <a:gs pos="100000">
                        <a:srgbClr val="DCDCDC"/>
                      </a:gs>
                    </a:gsLst>
                    <a:lin ang="0" scaled="1"/>
                    <a:tileRect/>
                  </a:gradFill>
                  <a:ln w="9525" cap="flat">
                    <a:noFill/>
                    <a:prstDash val="solid"/>
                    <a:miter/>
                  </a:ln>
                </p:spPr>
                <p:txBody>
                  <a:bodyPr rtlCol="0" anchor="ctr"/>
                  <a:lstStyle/>
                  <a:p>
                    <a:endParaRPr lang="en-US"/>
                  </a:p>
                </p:txBody>
              </p:sp>
              <p:sp>
                <p:nvSpPr>
                  <p:cNvPr id="194" name="Freeform: Shape 193">
                    <a:extLst>
                      <a:ext uri="{FF2B5EF4-FFF2-40B4-BE49-F238E27FC236}">
                        <a16:creationId xmlns:a16="http://schemas.microsoft.com/office/drawing/2014/main" id="{7105623F-AD26-90AF-7F9F-34A90F14EF1F}"/>
                      </a:ext>
                    </a:extLst>
                  </p:cNvPr>
                  <p:cNvSpPr/>
                  <p:nvPr/>
                </p:nvSpPr>
                <p:spPr>
                  <a:xfrm>
                    <a:off x="-2147927" y="6009547"/>
                    <a:ext cx="25282" cy="163309"/>
                  </a:xfrm>
                  <a:custGeom>
                    <a:avLst/>
                    <a:gdLst>
                      <a:gd name="connsiteX0" fmla="*/ 0 w 219075"/>
                      <a:gd name="connsiteY0" fmla="*/ 0 h 1415129"/>
                      <a:gd name="connsiteX1" fmla="*/ 0 w 219075"/>
                      <a:gd name="connsiteY1" fmla="*/ 1415129 h 1415129"/>
                      <a:gd name="connsiteX2" fmla="*/ 219075 w 219075"/>
                      <a:gd name="connsiteY2" fmla="*/ 1415129 h 1415129"/>
                      <a:gd name="connsiteX3" fmla="*/ 219075 w 219075"/>
                      <a:gd name="connsiteY3" fmla="*/ 208217 h 1415129"/>
                      <a:gd name="connsiteX4" fmla="*/ 0 w 219075"/>
                      <a:gd name="connsiteY4" fmla="*/ 0 h 141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1415129">
                        <a:moveTo>
                          <a:pt x="0" y="0"/>
                        </a:moveTo>
                        <a:lnTo>
                          <a:pt x="0" y="1415129"/>
                        </a:lnTo>
                        <a:lnTo>
                          <a:pt x="219075" y="1415129"/>
                        </a:lnTo>
                        <a:lnTo>
                          <a:pt x="219075" y="208217"/>
                        </a:lnTo>
                        <a:lnTo>
                          <a:pt x="0" y="0"/>
                        </a:lnTo>
                        <a:close/>
                      </a:path>
                    </a:pathLst>
                  </a:custGeom>
                  <a:gradFill flip="none" rotWithShape="1">
                    <a:gsLst>
                      <a:gs pos="0">
                        <a:schemeClr val="accent1">
                          <a:lumMod val="5000"/>
                          <a:lumOff val="95000"/>
                        </a:schemeClr>
                      </a:gs>
                      <a:gs pos="100000">
                        <a:srgbClr val="DCDCDC"/>
                      </a:gs>
                    </a:gsLst>
                    <a:lin ang="5400000" scaled="1"/>
                    <a:tileRect/>
                  </a:gradFill>
                  <a:ln w="9525" cap="flat">
                    <a:noFill/>
                    <a:prstDash val="solid"/>
                    <a:miter/>
                  </a:ln>
                </p:spPr>
                <p:txBody>
                  <a:bodyPr rtlCol="0" anchor="ctr"/>
                  <a:lstStyle/>
                  <a:p>
                    <a:endParaRPr lang="en-US"/>
                  </a:p>
                </p:txBody>
              </p:sp>
              <p:sp>
                <p:nvSpPr>
                  <p:cNvPr id="195" name="Freeform: Shape 194">
                    <a:extLst>
                      <a:ext uri="{FF2B5EF4-FFF2-40B4-BE49-F238E27FC236}">
                        <a16:creationId xmlns:a16="http://schemas.microsoft.com/office/drawing/2014/main" id="{0F598A32-03C5-1EAF-FCB2-E6F2A1388F4F}"/>
                      </a:ext>
                    </a:extLst>
                  </p:cNvPr>
                  <p:cNvSpPr/>
                  <p:nvPr/>
                </p:nvSpPr>
                <p:spPr>
                  <a:xfrm rot="10800000">
                    <a:off x="-2153632" y="6001622"/>
                    <a:ext cx="36691" cy="36691"/>
                  </a:xfrm>
                  <a:custGeom>
                    <a:avLst/>
                    <a:gdLst>
                      <a:gd name="connsiteX0" fmla="*/ 0 w 317944"/>
                      <a:gd name="connsiteY0" fmla="*/ 0 h 317944"/>
                      <a:gd name="connsiteX1" fmla="*/ 317945 w 317944"/>
                      <a:gd name="connsiteY1" fmla="*/ 0 h 317944"/>
                      <a:gd name="connsiteX2" fmla="*/ 317945 w 317944"/>
                      <a:gd name="connsiteY2" fmla="*/ 317945 h 317944"/>
                      <a:gd name="connsiteX3" fmla="*/ 0 w 317944"/>
                      <a:gd name="connsiteY3" fmla="*/ 317945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5" y="0"/>
                        </a:lnTo>
                        <a:lnTo>
                          <a:pt x="317945" y="317945"/>
                        </a:lnTo>
                        <a:lnTo>
                          <a:pt x="0" y="317945"/>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grpSp>
            <p:sp>
              <p:nvSpPr>
                <p:cNvPr id="181" name="Freeform: Shape 180">
                  <a:extLst>
                    <a:ext uri="{FF2B5EF4-FFF2-40B4-BE49-F238E27FC236}">
                      <a16:creationId xmlns:a16="http://schemas.microsoft.com/office/drawing/2014/main" id="{F4743D20-56E6-FCFD-90CF-16EADE650365}"/>
                    </a:ext>
                  </a:extLst>
                </p:cNvPr>
                <p:cNvSpPr/>
                <p:nvPr/>
              </p:nvSpPr>
              <p:spPr>
                <a:xfrm>
                  <a:off x="-1480614" y="5880166"/>
                  <a:ext cx="177637" cy="177637"/>
                </a:xfrm>
                <a:custGeom>
                  <a:avLst/>
                  <a:gdLst>
                    <a:gd name="connsiteX0" fmla="*/ 1007174 w 1007173"/>
                    <a:gd name="connsiteY0" fmla="*/ 503587 h 1007173"/>
                    <a:gd name="connsiteX1" fmla="*/ 503587 w 1007173"/>
                    <a:gd name="connsiteY1" fmla="*/ 1007174 h 1007173"/>
                    <a:gd name="connsiteX2" fmla="*/ 0 w 1007173"/>
                    <a:gd name="connsiteY2" fmla="*/ 503587 h 1007173"/>
                    <a:gd name="connsiteX3" fmla="*/ 503587 w 1007173"/>
                    <a:gd name="connsiteY3" fmla="*/ 0 h 1007173"/>
                    <a:gd name="connsiteX4" fmla="*/ 1007174 w 1007173"/>
                    <a:gd name="connsiteY4" fmla="*/ 503587 h 1007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173" h="1007173">
                      <a:moveTo>
                        <a:pt x="1007174" y="503587"/>
                      </a:moveTo>
                      <a:cubicBezTo>
                        <a:pt x="1007174" y="781710"/>
                        <a:pt x="781710" y="1007174"/>
                        <a:pt x="503587" y="1007174"/>
                      </a:cubicBezTo>
                      <a:cubicBezTo>
                        <a:pt x="225464" y="1007174"/>
                        <a:pt x="0" y="781710"/>
                        <a:pt x="0" y="503587"/>
                      </a:cubicBezTo>
                      <a:cubicBezTo>
                        <a:pt x="0" y="225463"/>
                        <a:pt x="225464" y="0"/>
                        <a:pt x="503587" y="0"/>
                      </a:cubicBezTo>
                      <a:cubicBezTo>
                        <a:pt x="781710" y="0"/>
                        <a:pt x="1007174" y="225463"/>
                        <a:pt x="1007174" y="503587"/>
                      </a:cubicBez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sp>
              <p:nvSpPr>
                <p:cNvPr id="182" name="Freeform: Shape 181">
                  <a:extLst>
                    <a:ext uri="{FF2B5EF4-FFF2-40B4-BE49-F238E27FC236}">
                      <a16:creationId xmlns:a16="http://schemas.microsoft.com/office/drawing/2014/main" id="{F25F3211-0B93-8962-03A4-77B708F300BE}"/>
                    </a:ext>
                  </a:extLst>
                </p:cNvPr>
                <p:cNvSpPr/>
                <p:nvPr/>
              </p:nvSpPr>
              <p:spPr>
                <a:xfrm>
                  <a:off x="-1668566" y="5918789"/>
                  <a:ext cx="100392" cy="100392"/>
                </a:xfrm>
                <a:custGeom>
                  <a:avLst/>
                  <a:gdLst>
                    <a:gd name="connsiteX0" fmla="*/ 569214 w 569213"/>
                    <a:gd name="connsiteY0" fmla="*/ 284607 h 569213"/>
                    <a:gd name="connsiteX1" fmla="*/ 284607 w 569213"/>
                    <a:gd name="connsiteY1" fmla="*/ 569214 h 569213"/>
                    <a:gd name="connsiteX2" fmla="*/ 0 w 569213"/>
                    <a:gd name="connsiteY2" fmla="*/ 284607 h 569213"/>
                    <a:gd name="connsiteX3" fmla="*/ 284607 w 569213"/>
                    <a:gd name="connsiteY3" fmla="*/ 0 h 569213"/>
                    <a:gd name="connsiteX4" fmla="*/ 569214 w 569213"/>
                    <a:gd name="connsiteY4" fmla="*/ 284607 h 569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213" h="569213">
                      <a:moveTo>
                        <a:pt x="569214" y="284607"/>
                      </a:moveTo>
                      <a:cubicBezTo>
                        <a:pt x="569214" y="441791"/>
                        <a:pt x="441791" y="569214"/>
                        <a:pt x="284607" y="569214"/>
                      </a:cubicBezTo>
                      <a:cubicBezTo>
                        <a:pt x="127423" y="569214"/>
                        <a:pt x="0" y="441791"/>
                        <a:pt x="0" y="284607"/>
                      </a:cubicBezTo>
                      <a:cubicBezTo>
                        <a:pt x="0" y="127423"/>
                        <a:pt x="127423" y="0"/>
                        <a:pt x="284607" y="0"/>
                      </a:cubicBezTo>
                      <a:cubicBezTo>
                        <a:pt x="441791" y="0"/>
                        <a:pt x="569214" y="127423"/>
                        <a:pt x="569214" y="284607"/>
                      </a:cubicBez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sp>
              <p:nvSpPr>
                <p:cNvPr id="183" name="Freeform: Shape 182">
                  <a:extLst>
                    <a:ext uri="{FF2B5EF4-FFF2-40B4-BE49-F238E27FC236}">
                      <a16:creationId xmlns:a16="http://schemas.microsoft.com/office/drawing/2014/main" id="{409726FA-4E2F-29B9-A9E0-592D1A99E71F}"/>
                    </a:ext>
                  </a:extLst>
                </p:cNvPr>
                <p:cNvSpPr/>
                <p:nvPr/>
              </p:nvSpPr>
              <p:spPr>
                <a:xfrm>
                  <a:off x="-1873874" y="5990387"/>
                  <a:ext cx="56077" cy="56077"/>
                </a:xfrm>
                <a:custGeom>
                  <a:avLst/>
                  <a:gdLst>
                    <a:gd name="connsiteX0" fmla="*/ 0 w 317944"/>
                    <a:gd name="connsiteY0" fmla="*/ 0 h 317944"/>
                    <a:gd name="connsiteX1" fmla="*/ 317944 w 317944"/>
                    <a:gd name="connsiteY1" fmla="*/ 0 h 317944"/>
                    <a:gd name="connsiteX2" fmla="*/ 317944 w 317944"/>
                    <a:gd name="connsiteY2" fmla="*/ 317944 h 317944"/>
                    <a:gd name="connsiteX3" fmla="*/ 0 w 317944"/>
                    <a:gd name="connsiteY3" fmla="*/ 317944 h 317944"/>
                  </a:gdLst>
                  <a:ahLst/>
                  <a:cxnLst>
                    <a:cxn ang="0">
                      <a:pos x="connsiteX0" y="connsiteY0"/>
                    </a:cxn>
                    <a:cxn ang="0">
                      <a:pos x="connsiteX1" y="connsiteY1"/>
                    </a:cxn>
                    <a:cxn ang="0">
                      <a:pos x="connsiteX2" y="connsiteY2"/>
                    </a:cxn>
                    <a:cxn ang="0">
                      <a:pos x="connsiteX3" y="connsiteY3"/>
                    </a:cxn>
                  </a:cxnLst>
                  <a:rect l="l" t="t" r="r" b="b"/>
                  <a:pathLst>
                    <a:path w="317944" h="317944">
                      <a:moveTo>
                        <a:pt x="0" y="0"/>
                      </a:moveTo>
                      <a:lnTo>
                        <a:pt x="317944" y="0"/>
                      </a:lnTo>
                      <a:lnTo>
                        <a:pt x="317944" y="317944"/>
                      </a:lnTo>
                      <a:lnTo>
                        <a:pt x="0" y="317944"/>
                      </a:lnTo>
                      <a:close/>
                    </a:path>
                  </a:pathLst>
                </a:custGeom>
                <a:solidFill>
                  <a:schemeClr val="bg2">
                    <a:lumMod val="60000"/>
                    <a:lumOff val="40000"/>
                  </a:schemeClr>
                </a:solidFill>
                <a:ln w="9525" cap="flat">
                  <a:solidFill>
                    <a:schemeClr val="bg2">
                      <a:lumMod val="60000"/>
                      <a:lumOff val="40000"/>
                    </a:schemeClr>
                  </a:solidFill>
                  <a:prstDash val="solid"/>
                  <a:miter/>
                </a:ln>
              </p:spPr>
              <p:txBody>
                <a:bodyPr rtlCol="0" anchor="ctr"/>
                <a:lstStyle/>
                <a:p>
                  <a:endParaRPr lang="en-US"/>
                </a:p>
              </p:txBody>
            </p:sp>
            <p:sp>
              <p:nvSpPr>
                <p:cNvPr id="184" name="Freeform: Shape 183">
                  <a:extLst>
                    <a:ext uri="{FF2B5EF4-FFF2-40B4-BE49-F238E27FC236}">
                      <a16:creationId xmlns:a16="http://schemas.microsoft.com/office/drawing/2014/main" id="{D8431771-89B0-83F8-8103-42BC8D284AD6}"/>
                    </a:ext>
                  </a:extLst>
                </p:cNvPr>
                <p:cNvSpPr/>
                <p:nvPr/>
              </p:nvSpPr>
              <p:spPr>
                <a:xfrm>
                  <a:off x="-1951638" y="5913110"/>
                  <a:ext cx="77764" cy="77279"/>
                </a:xfrm>
                <a:custGeom>
                  <a:avLst/>
                  <a:gdLst>
                    <a:gd name="connsiteX0" fmla="*/ 0 w 440912"/>
                    <a:gd name="connsiteY0" fmla="*/ 0 h 438150"/>
                    <a:gd name="connsiteX1" fmla="*/ 440912 w 440912"/>
                    <a:gd name="connsiteY1" fmla="*/ 0 h 438150"/>
                    <a:gd name="connsiteX2" fmla="*/ 440912 w 440912"/>
                    <a:gd name="connsiteY2" fmla="*/ 438150 h 438150"/>
                    <a:gd name="connsiteX3" fmla="*/ 0 w 440912"/>
                    <a:gd name="connsiteY3" fmla="*/ 438150 h 438150"/>
                  </a:gdLst>
                  <a:ahLst/>
                  <a:cxnLst>
                    <a:cxn ang="0">
                      <a:pos x="connsiteX0" y="connsiteY0"/>
                    </a:cxn>
                    <a:cxn ang="0">
                      <a:pos x="connsiteX1" y="connsiteY1"/>
                    </a:cxn>
                    <a:cxn ang="0">
                      <a:pos x="connsiteX2" y="connsiteY2"/>
                    </a:cxn>
                    <a:cxn ang="0">
                      <a:pos x="connsiteX3" y="connsiteY3"/>
                    </a:cxn>
                  </a:cxnLst>
                  <a:rect l="l" t="t" r="r" b="b"/>
                  <a:pathLst>
                    <a:path w="440912" h="438150">
                      <a:moveTo>
                        <a:pt x="0" y="0"/>
                      </a:moveTo>
                      <a:lnTo>
                        <a:pt x="440912" y="0"/>
                      </a:lnTo>
                      <a:lnTo>
                        <a:pt x="440912" y="438150"/>
                      </a:lnTo>
                      <a:lnTo>
                        <a:pt x="0" y="438150"/>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85" name="Freeform: Shape 184">
                  <a:extLst>
                    <a:ext uri="{FF2B5EF4-FFF2-40B4-BE49-F238E27FC236}">
                      <a16:creationId xmlns:a16="http://schemas.microsoft.com/office/drawing/2014/main" id="{B53A4550-C0DF-7EAA-B06C-E9008A55CC9B}"/>
                    </a:ext>
                  </a:extLst>
                </p:cNvPr>
                <p:cNvSpPr/>
                <p:nvPr/>
              </p:nvSpPr>
              <p:spPr>
                <a:xfrm>
                  <a:off x="-2054180" y="5782932"/>
                  <a:ext cx="852589" cy="372090"/>
                </a:xfrm>
                <a:custGeom>
                  <a:avLst/>
                  <a:gdLst>
                    <a:gd name="connsiteX0" fmla="*/ 219075 w 4834032"/>
                    <a:gd name="connsiteY0" fmla="*/ 1791843 h 2109692"/>
                    <a:gd name="connsiteX1" fmla="*/ 317849 w 4834032"/>
                    <a:gd name="connsiteY1" fmla="*/ 1890713 h 2109692"/>
                    <a:gd name="connsiteX2" fmla="*/ 4615053 w 4834032"/>
                    <a:gd name="connsiteY2" fmla="*/ 1890713 h 2109692"/>
                    <a:gd name="connsiteX3" fmla="*/ 4615053 w 4834032"/>
                    <a:gd name="connsiteY3" fmla="*/ 317945 h 2109692"/>
                    <a:gd name="connsiteX4" fmla="*/ 4516279 w 4834032"/>
                    <a:gd name="connsiteY4" fmla="*/ 219075 h 2109692"/>
                    <a:gd name="connsiteX5" fmla="*/ 2330387 w 4834032"/>
                    <a:gd name="connsiteY5" fmla="*/ 219075 h 2109692"/>
                    <a:gd name="connsiteX6" fmla="*/ 2330387 w 4834032"/>
                    <a:gd name="connsiteY6" fmla="*/ 0 h 2109692"/>
                    <a:gd name="connsiteX7" fmla="*/ 4516184 w 4834032"/>
                    <a:gd name="connsiteY7" fmla="*/ 0 h 2109692"/>
                    <a:gd name="connsiteX8" fmla="*/ 4834033 w 4834032"/>
                    <a:gd name="connsiteY8" fmla="*/ 317945 h 2109692"/>
                    <a:gd name="connsiteX9" fmla="*/ 4834033 w 4834032"/>
                    <a:gd name="connsiteY9" fmla="*/ 2109692 h 2109692"/>
                    <a:gd name="connsiteX10" fmla="*/ 317849 w 4834032"/>
                    <a:gd name="connsiteY10" fmla="*/ 2109692 h 2109692"/>
                    <a:gd name="connsiteX11" fmla="*/ 0 w 4834032"/>
                    <a:gd name="connsiteY11" fmla="*/ 1791748 h 2109692"/>
                    <a:gd name="connsiteX12" fmla="*/ 0 w 4834032"/>
                    <a:gd name="connsiteY12" fmla="*/ 1419701 h 2109692"/>
                    <a:gd name="connsiteX13" fmla="*/ 219075 w 4834032"/>
                    <a:gd name="connsiteY13" fmla="*/ 1419701 h 2109692"/>
                    <a:gd name="connsiteX14" fmla="*/ 219075 w 4834032"/>
                    <a:gd name="connsiteY14" fmla="*/ 1791748 h 210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34032" h="2109692">
                      <a:moveTo>
                        <a:pt x="219075" y="1791843"/>
                      </a:moveTo>
                      <a:cubicBezTo>
                        <a:pt x="219075" y="1846326"/>
                        <a:pt x="263366" y="1890713"/>
                        <a:pt x="317849" y="1890713"/>
                      </a:cubicBezTo>
                      <a:lnTo>
                        <a:pt x="4615053" y="1890713"/>
                      </a:lnTo>
                      <a:cubicBezTo>
                        <a:pt x="4615053" y="1890713"/>
                        <a:pt x="4615053" y="317945"/>
                        <a:pt x="4615053" y="317945"/>
                      </a:cubicBezTo>
                      <a:cubicBezTo>
                        <a:pt x="4615053" y="263462"/>
                        <a:pt x="4570762" y="219075"/>
                        <a:pt x="4516279" y="219075"/>
                      </a:cubicBezTo>
                      <a:lnTo>
                        <a:pt x="2330387" y="219075"/>
                      </a:lnTo>
                      <a:lnTo>
                        <a:pt x="2330387" y="0"/>
                      </a:lnTo>
                      <a:lnTo>
                        <a:pt x="4516184" y="0"/>
                      </a:lnTo>
                      <a:cubicBezTo>
                        <a:pt x="4691444" y="0"/>
                        <a:pt x="4834033" y="142589"/>
                        <a:pt x="4834033" y="317945"/>
                      </a:cubicBezTo>
                      <a:lnTo>
                        <a:pt x="4834033" y="2109692"/>
                      </a:lnTo>
                      <a:lnTo>
                        <a:pt x="317849" y="2109692"/>
                      </a:lnTo>
                      <a:cubicBezTo>
                        <a:pt x="142589" y="2109692"/>
                        <a:pt x="0" y="1967103"/>
                        <a:pt x="0" y="1791748"/>
                      </a:cubicBezTo>
                      <a:lnTo>
                        <a:pt x="0" y="1419701"/>
                      </a:lnTo>
                      <a:lnTo>
                        <a:pt x="219075" y="1419701"/>
                      </a:lnTo>
                      <a:lnTo>
                        <a:pt x="219075" y="1791748"/>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86" name="Freeform: Shape 185">
                  <a:extLst>
                    <a:ext uri="{FF2B5EF4-FFF2-40B4-BE49-F238E27FC236}">
                      <a16:creationId xmlns:a16="http://schemas.microsoft.com/office/drawing/2014/main" id="{208489E8-D752-C1B9-09A2-61BCE5612246}"/>
                    </a:ext>
                  </a:extLst>
                </p:cNvPr>
                <p:cNvSpPr/>
                <p:nvPr/>
              </p:nvSpPr>
              <p:spPr>
                <a:xfrm>
                  <a:off x="-2058618" y="5782914"/>
                  <a:ext cx="416930" cy="38639"/>
                </a:xfrm>
                <a:custGeom>
                  <a:avLst/>
                  <a:gdLst>
                    <a:gd name="connsiteX0" fmla="*/ 0 w 2363914"/>
                    <a:gd name="connsiteY0" fmla="*/ 0 h 219075"/>
                    <a:gd name="connsiteX1" fmla="*/ 241268 w 2363914"/>
                    <a:gd name="connsiteY1" fmla="*/ 219075 h 219075"/>
                    <a:gd name="connsiteX2" fmla="*/ 2363915 w 2363914"/>
                    <a:gd name="connsiteY2" fmla="*/ 219075 h 219075"/>
                    <a:gd name="connsiteX3" fmla="*/ 2363915 w 2363914"/>
                    <a:gd name="connsiteY3" fmla="*/ 0 h 219075"/>
                    <a:gd name="connsiteX4" fmla="*/ 0 w 2363914"/>
                    <a:gd name="connsiteY4" fmla="*/ 0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3914" h="219075">
                      <a:moveTo>
                        <a:pt x="0" y="0"/>
                      </a:moveTo>
                      <a:lnTo>
                        <a:pt x="241268" y="219075"/>
                      </a:lnTo>
                      <a:lnTo>
                        <a:pt x="2363915" y="219075"/>
                      </a:lnTo>
                      <a:lnTo>
                        <a:pt x="2363915" y="0"/>
                      </a:lnTo>
                      <a:lnTo>
                        <a:pt x="0" y="0"/>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87" name="Freeform: Shape 186">
                  <a:extLst>
                    <a:ext uri="{FF2B5EF4-FFF2-40B4-BE49-F238E27FC236}">
                      <a16:creationId xmlns:a16="http://schemas.microsoft.com/office/drawing/2014/main" id="{7488157D-BAA8-71C0-42F9-03E82D49679E}"/>
                    </a:ext>
                  </a:extLst>
                </p:cNvPr>
                <p:cNvSpPr/>
                <p:nvPr/>
              </p:nvSpPr>
              <p:spPr>
                <a:xfrm>
                  <a:off x="-2054180" y="5782914"/>
                  <a:ext cx="38639" cy="274319"/>
                </a:xfrm>
                <a:custGeom>
                  <a:avLst/>
                  <a:gdLst>
                    <a:gd name="connsiteX0" fmla="*/ 0 w 219075"/>
                    <a:gd name="connsiteY0" fmla="*/ 0 h 1415129"/>
                    <a:gd name="connsiteX1" fmla="*/ 0 w 219075"/>
                    <a:gd name="connsiteY1" fmla="*/ 1415129 h 1415129"/>
                    <a:gd name="connsiteX2" fmla="*/ 219075 w 219075"/>
                    <a:gd name="connsiteY2" fmla="*/ 1415129 h 1415129"/>
                    <a:gd name="connsiteX3" fmla="*/ 219075 w 219075"/>
                    <a:gd name="connsiteY3" fmla="*/ 208217 h 1415129"/>
                    <a:gd name="connsiteX4" fmla="*/ 0 w 219075"/>
                    <a:gd name="connsiteY4" fmla="*/ 0 h 141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1415129">
                      <a:moveTo>
                        <a:pt x="0" y="0"/>
                      </a:moveTo>
                      <a:lnTo>
                        <a:pt x="0" y="1415129"/>
                      </a:lnTo>
                      <a:lnTo>
                        <a:pt x="219075" y="1415129"/>
                      </a:lnTo>
                      <a:lnTo>
                        <a:pt x="219075" y="208217"/>
                      </a:lnTo>
                      <a:lnTo>
                        <a:pt x="0" y="0"/>
                      </a:lnTo>
                      <a:close/>
                    </a:path>
                  </a:pathLst>
                </a:custGeom>
                <a:solidFill>
                  <a:schemeClr val="bg2">
                    <a:lumMod val="20000"/>
                    <a:lumOff val="80000"/>
                  </a:schemeClr>
                </a:solidFill>
                <a:ln w="334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grpSp>
          <p:sp>
            <p:nvSpPr>
              <p:cNvPr id="178" name="Rectangle 177">
                <a:extLst>
                  <a:ext uri="{FF2B5EF4-FFF2-40B4-BE49-F238E27FC236}">
                    <a16:creationId xmlns:a16="http://schemas.microsoft.com/office/drawing/2014/main" id="{5FEB0CEB-A486-208A-6EF8-E68A022E173A}"/>
                  </a:ext>
                </a:extLst>
              </p:cNvPr>
              <p:cNvSpPr/>
              <p:nvPr/>
            </p:nvSpPr>
            <p:spPr>
              <a:xfrm>
                <a:off x="2862578" y="4425589"/>
                <a:ext cx="646998"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825500" hangingPunct="0"/>
                <a:r>
                  <a:rPr lang="en-IN" sz="900" dirty="0">
                    <a:solidFill>
                      <a:schemeClr val="bg2"/>
                    </a:solidFill>
                    <a:latin typeface="IntelOne Text" panose="020B0503020203020204" pitchFamily="34" charset="0"/>
                    <a:sym typeface="Helvetica Neue Medium"/>
                  </a:rPr>
                  <a:t>Edge/Site Cloud</a:t>
                </a:r>
              </a:p>
            </p:txBody>
          </p:sp>
        </p:grpSp>
        <p:sp>
          <p:nvSpPr>
            <p:cNvPr id="174" name="Rectangle 173">
              <a:extLst>
                <a:ext uri="{FF2B5EF4-FFF2-40B4-BE49-F238E27FC236}">
                  <a16:creationId xmlns:a16="http://schemas.microsoft.com/office/drawing/2014/main" id="{006ED412-FE70-FAAB-888D-2F92472ED957}"/>
                </a:ext>
              </a:extLst>
            </p:cNvPr>
            <p:cNvSpPr/>
            <p:nvPr/>
          </p:nvSpPr>
          <p:spPr>
            <a:xfrm>
              <a:off x="3306603" y="3731848"/>
              <a:ext cx="485775" cy="287546"/>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err="1">
                  <a:ln>
                    <a:noFill/>
                  </a:ln>
                  <a:solidFill>
                    <a:srgbClr val="FFFFFF"/>
                  </a:solidFill>
                  <a:effectLst/>
                  <a:uFillTx/>
                  <a:latin typeface="IntelOne Text" panose="020B0503020203020204" pitchFamily="34" charset="0"/>
                  <a:ea typeface="Helvetica Neue Medium"/>
                  <a:cs typeface="Helvetica Neue Medium"/>
                  <a:sym typeface="Helvetica Neue Medium"/>
                </a:rPr>
                <a:t>Lekha</a:t>
              </a:r>
              <a:br>
                <a:rPr kumimoji="0" lang="en-IN" sz="900" b="0" i="0" u="none" strike="noStrike" cap="none" spc="0" normalizeH="0" baseline="0" dirty="0">
                  <a:ln>
                    <a:noFill/>
                  </a:ln>
                  <a:solidFill>
                    <a:srgbClr val="FFFFFF"/>
                  </a:solidFill>
                  <a:effectLst/>
                  <a:uFillTx/>
                  <a:latin typeface="IntelOne Text" panose="020B0503020203020204" pitchFamily="34" charset="0"/>
                  <a:ea typeface="Helvetica Neue Medium"/>
                  <a:cs typeface="Helvetica Neue Medium"/>
                  <a:sym typeface="Helvetica Neue Medium"/>
                </a:rPr>
              </a:br>
              <a:r>
                <a:rPr kumimoji="0" lang="en-IN" sz="900" b="0" i="0" u="none" strike="noStrike" cap="none" spc="0" normalizeH="0" baseline="0" dirty="0">
                  <a:ln>
                    <a:noFill/>
                  </a:ln>
                  <a:solidFill>
                    <a:srgbClr val="FFFFFF"/>
                  </a:solidFill>
                  <a:effectLst/>
                  <a:uFillTx/>
                  <a:latin typeface="IntelOne Text" panose="020B0503020203020204" pitchFamily="34" charset="0"/>
                  <a:ea typeface="Helvetica Neue Medium"/>
                  <a:cs typeface="Helvetica Neue Medium"/>
                  <a:sym typeface="Helvetica Neue Medium"/>
                </a:rPr>
                <a:t>RU</a:t>
              </a:r>
            </a:p>
          </p:txBody>
        </p:sp>
        <p:cxnSp>
          <p:nvCxnSpPr>
            <p:cNvPr id="175" name="Straight Connector 174">
              <a:extLst>
                <a:ext uri="{FF2B5EF4-FFF2-40B4-BE49-F238E27FC236}">
                  <a16:creationId xmlns:a16="http://schemas.microsoft.com/office/drawing/2014/main" id="{BBE0B051-7AFE-4BF8-BA7D-424EC988EB16}"/>
                </a:ext>
              </a:extLst>
            </p:cNvPr>
            <p:cNvCxnSpPr>
              <a:cxnSpLocks/>
              <a:stCxn id="188" idx="0"/>
              <a:endCxn id="174" idx="1"/>
            </p:cNvCxnSpPr>
            <p:nvPr/>
          </p:nvCxnSpPr>
          <p:spPr>
            <a:xfrm flipV="1">
              <a:off x="2638305" y="3875621"/>
              <a:ext cx="668298" cy="5919"/>
            </a:xfrm>
            <a:prstGeom prst="line">
              <a:avLst/>
            </a:prstGeom>
            <a:noFill/>
            <a:ln w="12700" cap="flat">
              <a:solidFill>
                <a:schemeClr val="bg1">
                  <a:lumMod val="50000"/>
                </a:schemeClr>
              </a:solidFill>
              <a:miter lim="400000"/>
              <a:headEnd type="none" w="med" len="med"/>
              <a:tailEnd type="none" w="med" len="med"/>
            </a:ln>
            <a:effectLst/>
            <a:sp3d/>
          </p:spPr>
          <p:style>
            <a:lnRef idx="0">
              <a:scrgbClr r="0" g="0" b="0"/>
            </a:lnRef>
            <a:fillRef idx="0">
              <a:scrgbClr r="0" g="0" b="0"/>
            </a:fillRef>
            <a:effectRef idx="0">
              <a:scrgbClr r="0" g="0" b="0"/>
            </a:effectRef>
            <a:fontRef idx="none"/>
          </p:style>
        </p:cxnSp>
        <p:sp>
          <p:nvSpPr>
            <p:cNvPr id="176" name="Rectangle 175">
              <a:extLst>
                <a:ext uri="{FF2B5EF4-FFF2-40B4-BE49-F238E27FC236}">
                  <a16:creationId xmlns:a16="http://schemas.microsoft.com/office/drawing/2014/main" id="{05DF577A-CB5B-AF07-935F-32D663C7CB82}"/>
                </a:ext>
              </a:extLst>
            </p:cNvPr>
            <p:cNvSpPr/>
            <p:nvPr/>
          </p:nvSpPr>
          <p:spPr>
            <a:xfrm>
              <a:off x="2855146" y="3938714"/>
              <a:ext cx="480103" cy="1384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kumimoji="0" lang="en-IN" sz="900" b="0" i="0" u="none" strike="noStrike" cap="none" spc="0" normalizeH="0" baseline="0" dirty="0" err="1">
                  <a:ln>
                    <a:noFill/>
                  </a:ln>
                  <a:solidFill>
                    <a:schemeClr val="bg2"/>
                  </a:solidFill>
                  <a:effectLst/>
                  <a:uFillTx/>
                  <a:latin typeface="IntelOne Display Medium" panose="020B0703020203020204" pitchFamily="34" charset="0"/>
                  <a:ea typeface="Helvetica Neue Medium"/>
                  <a:cs typeface="Helvetica Neue Medium"/>
                  <a:sym typeface="Helvetica Neue Medium"/>
                </a:rPr>
                <a:t>eCPRI</a:t>
              </a:r>
              <a:endParaRPr kumimoji="0" lang="en-IN" sz="900" b="0" i="0" u="none" strike="noStrike" cap="none" spc="0" normalizeH="0" baseline="0" dirty="0">
                <a:ln>
                  <a:noFill/>
                </a:ln>
                <a:solidFill>
                  <a:schemeClr val="bg2"/>
                </a:solidFill>
                <a:effectLst/>
                <a:uFillTx/>
                <a:latin typeface="IntelOne Display Medium" panose="020B0703020203020204" pitchFamily="34" charset="0"/>
                <a:ea typeface="Helvetica Neue Medium"/>
                <a:cs typeface="Helvetica Neue Medium"/>
                <a:sym typeface="Helvetica Neue Medium"/>
              </a:endParaRPr>
            </a:p>
          </p:txBody>
        </p:sp>
      </p:grpSp>
      <p:sp>
        <p:nvSpPr>
          <p:cNvPr id="10" name="Text Placeholder 49">
            <a:extLst>
              <a:ext uri="{FF2B5EF4-FFF2-40B4-BE49-F238E27FC236}">
                <a16:creationId xmlns:a16="http://schemas.microsoft.com/office/drawing/2014/main" id="{9355C662-530A-58F0-6C57-EF2C4A82380C}"/>
              </a:ext>
            </a:extLst>
          </p:cNvPr>
          <p:cNvSpPr txBox="1">
            <a:spLocks/>
          </p:cNvSpPr>
          <p:nvPr/>
        </p:nvSpPr>
        <p:spPr>
          <a:xfrm>
            <a:off x="9615873" y="5871083"/>
            <a:ext cx="1857018" cy="415498"/>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a:spcBef>
                <a:spcPts val="0"/>
              </a:spcBef>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t>Solution Webpage: </a:t>
            </a:r>
          </a:p>
          <a:p>
            <a:pPr>
              <a:spcBef>
                <a:spcPts val="0"/>
              </a:spcBef>
              <a:defRPr/>
            </a:pPr>
            <a:r>
              <a:rPr kumimoji="0" lang="en-US" sz="900" b="0" i="0" u="none" strike="noStrike" kern="1200" cap="none" spc="0" normalizeH="0" baseline="0" noProof="0" dirty="0" err="1">
                <a:ln>
                  <a:noFill/>
                </a:ln>
                <a:effectLst/>
                <a:uLnTx/>
                <a:uFillTx/>
                <a:latin typeface="IntelOne Text" panose="020B0503020203020204" pitchFamily="34" charset="0"/>
                <a:sym typeface="Helvetica Neue"/>
                <a:hlinkClick r:id="rId10">
                  <a:extLst>
                    <a:ext uri="{A12FA001-AC4F-418D-AE19-62706E023703}">
                      <ahyp:hlinkClr xmlns:ahyp="http://schemas.microsoft.com/office/drawing/2018/hyperlinkcolor" val="tx"/>
                    </a:ext>
                  </a:extLst>
                </a:hlinkClick>
              </a:rPr>
              <a:t>Lekha</a:t>
            </a:r>
            <a:r>
              <a:rPr kumimoji="0" lang="en-US" sz="900" b="0" i="0" u="none" strike="noStrike" kern="1200" cap="none" spc="0" normalizeH="0" baseline="0" noProof="0" dirty="0">
                <a:ln>
                  <a:noFill/>
                </a:ln>
                <a:effectLst/>
                <a:uLnTx/>
                <a:uFillTx/>
                <a:latin typeface="IntelOne Text" panose="020B0503020203020204" pitchFamily="34" charset="0"/>
                <a:sym typeface="Helvetica Neue"/>
                <a:hlinkClick r:id="rId10">
                  <a:extLst>
                    <a:ext uri="{A12FA001-AC4F-418D-AE19-62706E023703}">
                      <ahyp:hlinkClr xmlns:ahyp="http://schemas.microsoft.com/office/drawing/2018/hyperlinkcolor" val="tx"/>
                    </a:ext>
                  </a:extLst>
                </a:hlinkClick>
              </a:rPr>
              <a:t> Wireless Systems Homepage</a:t>
            </a:r>
            <a:endParaRPr kumimoji="0" lang="en-US" sz="900" b="0" i="0" u="none" strike="noStrike" kern="1200" cap="none" spc="0" normalizeH="0" baseline="0" noProof="0" dirty="0">
              <a:ln>
                <a:noFill/>
              </a:ln>
              <a:effectLst/>
              <a:uLnTx/>
              <a:uFillTx/>
              <a:latin typeface="IntelOne Text" panose="020B0503020203020204" pitchFamily="34" charset="0"/>
              <a:sym typeface="Helvetica Neue"/>
            </a:endParaRPr>
          </a:p>
        </p:txBody>
      </p:sp>
      <p:sp>
        <p:nvSpPr>
          <p:cNvPr id="7" name="Text Placeholder 49">
            <a:extLst>
              <a:ext uri="{FF2B5EF4-FFF2-40B4-BE49-F238E27FC236}">
                <a16:creationId xmlns:a16="http://schemas.microsoft.com/office/drawing/2014/main" id="{22A6B8C8-1D08-830B-E1D4-9460460B32F4}"/>
              </a:ext>
            </a:extLst>
          </p:cNvPr>
          <p:cNvSpPr txBox="1">
            <a:spLocks/>
          </p:cNvSpPr>
          <p:nvPr/>
        </p:nvSpPr>
        <p:spPr>
          <a:xfrm>
            <a:off x="9626337" y="5391311"/>
            <a:ext cx="1914788" cy="415498"/>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buClrTx/>
              <a:buSzTx/>
              <a:buFont typeface="Wingdings" pitchFamily="2" charset="2"/>
              <a:buNone/>
              <a:tabLst/>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t>Intel Contact:</a:t>
            </a:r>
          </a:p>
          <a:p>
            <a:pPr>
              <a:spcBef>
                <a:spcPts val="0"/>
              </a:spcBef>
              <a:defRPr/>
            </a:pPr>
            <a:r>
              <a:rPr lang="en-US" sz="900" b="0" kern="0" dirty="0">
                <a:solidFill>
                  <a:srgbClr val="525252"/>
                </a:solidFill>
                <a:latin typeface="IntelOne Text"/>
              </a:rPr>
              <a:t>Sankalp Mittal </a:t>
            </a:r>
            <a:r>
              <a:rPr kumimoji="0" lang="en-US" sz="900" b="0" i="0" u="none" strike="noStrike" kern="0" cap="none" spc="0" normalizeH="0" baseline="0" noProof="0" dirty="0">
                <a:ln>
                  <a:noFill/>
                </a:ln>
                <a:effectLst/>
                <a:uLnTx/>
                <a:uFillTx/>
                <a:latin typeface="IntelOne Text"/>
                <a:sym typeface="Helvetica"/>
              </a:rPr>
              <a:t>- </a:t>
            </a:r>
            <a:r>
              <a:rPr kumimoji="0" lang="en-US" sz="900" b="0" i="0" u="none" strike="noStrike" kern="0" cap="none" spc="0" normalizeH="0" baseline="0" noProof="0" dirty="0">
                <a:ln>
                  <a:noFill/>
                </a:ln>
                <a:effectLst/>
                <a:uLnTx/>
                <a:uFillTx/>
                <a:latin typeface="IntelOne Text" panose="020B0503020203020204" pitchFamily="34" charset="0"/>
                <a:sym typeface="Helvetica Neue"/>
                <a:hlinkClick r:id="rId11">
                  <a:extLst>
                    <a:ext uri="{A12FA001-AC4F-418D-AE19-62706E023703}">
                      <ahyp:hlinkClr xmlns:ahyp="http://schemas.microsoft.com/office/drawing/2018/hyperlinkcolor" val="tx"/>
                    </a:ext>
                  </a:extLst>
                </a:hlinkClick>
              </a:rPr>
              <a:t>Sankalp.mittal@intel.com</a:t>
            </a:r>
            <a:r>
              <a:rPr kumimoji="0" lang="en-US" sz="900" b="0" i="0" u="none" strike="noStrike" kern="0" cap="none" spc="0" normalizeH="0" baseline="0" noProof="0" dirty="0">
                <a:ln>
                  <a:noFill/>
                </a:ln>
                <a:effectLst/>
                <a:uLnTx/>
                <a:uFillTx/>
                <a:latin typeface="IntelOne Text" panose="020B0503020203020204" pitchFamily="34" charset="0"/>
                <a:sym typeface="Helvetica Neue"/>
              </a:rPr>
              <a:t> </a:t>
            </a:r>
          </a:p>
        </p:txBody>
      </p:sp>
    </p:spTree>
    <p:extLst>
      <p:ext uri="{BB962C8B-B14F-4D97-AF65-F5344CB8AC3E}">
        <p14:creationId xmlns:p14="http://schemas.microsoft.com/office/powerpoint/2010/main" val="198015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3_BasicWhite">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IntelOne 2022 Brand Update">
      <a:majorFont>
        <a:latin typeface="IntelOne Display Regular"/>
        <a:ea typeface="Helvetica Neue"/>
        <a:cs typeface="Helvetica Neue"/>
      </a:majorFont>
      <a:minorFont>
        <a:latin typeface="IntelOne Text"/>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none" lIns="0" tIns="0" rIns="0" bIns="0" numCol="1" spcCol="38100" rtlCol="0" anchor="t" anchorCtr="0">
        <a:spAutoFit/>
      </a:bodyPr>
      <a:lstStyle>
        <a:defPPr marL="0" marR="0" indent="0" algn="l" defTabSz="2438338" rtl="0" fontAlgn="auto" latinLnBrk="0" hangingPunct="0">
          <a:lnSpc>
            <a:spcPct val="100000"/>
          </a:lnSpc>
          <a:spcBef>
            <a:spcPts val="0"/>
          </a:spcBef>
          <a:spcAft>
            <a:spcPts val="0"/>
          </a:spcAft>
          <a:buClrTx/>
          <a:buSzTx/>
          <a:buFontTx/>
          <a:buNone/>
          <a:tabLst/>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2dfbfc3-fe40-42da-a9ad-f499c2523485">
      <Terms xmlns="http://schemas.microsoft.com/office/infopath/2007/PartnerControls"/>
    </lcf76f155ced4ddcb4097134ff3c332f>
    <TaxCatchAll xmlns="a7bc6c04-a6f3-4b85-abcc-278c78dc556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477266A4129B54292EEDD50EEBCDC66" ma:contentTypeVersion="17" ma:contentTypeDescription="Create a new document." ma:contentTypeScope="" ma:versionID="96650ad247b7c07d594ff54ad14a428c">
  <xsd:schema xmlns:xsd="http://www.w3.org/2001/XMLSchema" xmlns:xs="http://www.w3.org/2001/XMLSchema" xmlns:p="http://schemas.microsoft.com/office/2006/metadata/properties" xmlns:ns2="52dfbfc3-fe40-42da-a9ad-f499c2523485" xmlns:ns3="2d795756-d10d-4048-8e11-53cdc6a995cd" xmlns:ns4="a7bc6c04-a6f3-4b85-abcc-278c78dc556b" targetNamespace="http://schemas.microsoft.com/office/2006/metadata/properties" ma:root="true" ma:fieldsID="c4b9373778879e21d220bd37617946e7" ns2:_="" ns3:_="" ns4:_="">
    <xsd:import namespace="52dfbfc3-fe40-42da-a9ad-f499c2523485"/>
    <xsd:import namespace="2d795756-d10d-4048-8e11-53cdc6a995cd"/>
    <xsd:import namespace="a7bc6c04-a6f3-4b85-abcc-278c78dc55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dfbfc3-fe40-42da-a9ad-f499c25234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2a7515c-90a7-421b-ad67-16208a0551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795756-d10d-4048-8e11-53cdc6a995c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7bc6c04-a6f3-4b85-abcc-278c78dc556b"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b7bcebcc-9073-461d-830c-425926eb073f}" ma:internalName="TaxCatchAll" ma:showField="CatchAllData" ma:web="2d795756-d10d-4048-8e11-53cdc6a995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AE819F-5BF5-4B7B-B8D9-4A3B37294168}">
  <ds:schemaRefs>
    <ds:schemaRef ds:uri="http://www.w3.org/XML/1998/namespace"/>
    <ds:schemaRef ds:uri="2d795756-d10d-4048-8e11-53cdc6a995cd"/>
    <ds:schemaRef ds:uri="http://schemas.microsoft.com/office/2006/metadata/properties"/>
    <ds:schemaRef ds:uri="http://schemas.microsoft.com/office/2006/documentManagement/types"/>
    <ds:schemaRef ds:uri="a7bc6c04-a6f3-4b85-abcc-278c78dc556b"/>
    <ds:schemaRef ds:uri="http://purl.org/dc/elements/1.1/"/>
    <ds:schemaRef ds:uri="52dfbfc3-fe40-42da-a9ad-f499c2523485"/>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2.xml><?xml version="1.0" encoding="utf-8"?>
<ds:datastoreItem xmlns:ds="http://schemas.openxmlformats.org/officeDocument/2006/customXml" ds:itemID="{D7D2FE0F-F8A0-4FB3-A7FD-2CECAF510B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dfbfc3-fe40-42da-a9ad-f499c2523485"/>
    <ds:schemaRef ds:uri="2d795756-d10d-4048-8e11-53cdc6a995cd"/>
    <ds:schemaRef ds:uri="a7bc6c04-a6f3-4b85-abcc-278c78dc55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68AD5F-85E3-432F-9F7E-F716B90FB07E}">
  <ds:schemaRefs>
    <ds:schemaRef ds:uri="http://schemas.microsoft.com/sharepoint/v3/contenttype/forms"/>
  </ds:schemaRefs>
</ds:datastoreItem>
</file>

<file path=docMetadata/LabelInfo.xml><?xml version="1.0" encoding="utf-8"?>
<clbl:labelList xmlns:clbl="http://schemas.microsoft.com/office/2020/mipLabelMetadata">
  <clbl:label id="{46c98d88-e344-4ed4-8496-4ed7712e255d}" enabled="0" method="" siteId="{46c98d88-e344-4ed4-8496-4ed7712e255d}" removed="1"/>
</clbl:labelList>
</file>

<file path=docProps/app.xml><?xml version="1.0" encoding="utf-8"?>
<Properties xmlns="http://schemas.openxmlformats.org/officeDocument/2006/extended-properties" xmlns:vt="http://schemas.openxmlformats.org/officeDocument/2006/docPropsVTypes">
  <Template>office theme</Template>
  <TotalTime>367</TotalTime>
  <Words>336</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3" baseType="lpstr">
      <vt:lpstr>Arial</vt:lpstr>
      <vt:lpstr>Calibri</vt:lpstr>
      <vt:lpstr>Helvetica</vt:lpstr>
      <vt:lpstr>Helvetica Neue Medium</vt:lpstr>
      <vt:lpstr>Intel Clear</vt:lpstr>
      <vt:lpstr>IntelOne Display Light</vt:lpstr>
      <vt:lpstr>IntelOne Display Medium</vt:lpstr>
      <vt:lpstr>IntelOne Display Regular</vt:lpstr>
      <vt:lpstr>IntelOne Text</vt:lpstr>
      <vt:lpstr>Wingdings</vt:lpstr>
      <vt:lpstr>33_BasicWhit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kha Wireless Playbook Page</dc:title>
  <dc:creator>RAJANI K PANDRANGI</dc:creator>
  <cp:lastModifiedBy>Demont, Lesek</cp:lastModifiedBy>
  <cp:revision>3</cp:revision>
  <dcterms:created xsi:type="dcterms:W3CDTF">2024-01-22T17:33:16Z</dcterms:created>
  <dcterms:modified xsi:type="dcterms:W3CDTF">2024-08-08T14:3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77266A4129B54292EEDD50EEBCDC66</vt:lpwstr>
  </property>
  <property fmtid="{D5CDD505-2E9C-101B-9397-08002B2CF9AE}" pid="3" name="MediaServiceImageTags">
    <vt:lpwstr/>
  </property>
</Properties>
</file>